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tags/tag1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theme/theme2.xml" ContentType="application/vnd.openxmlformats-officedocument.theme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slideLayouts/slideLayout83.xml" ContentType="application/vnd.openxmlformats-officedocument.presentationml.slideLayout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theme/theme4.xml" ContentType="application/vnd.openxmlformats-officedocument.theme+xml"/>
  <Override PartName="/ppt/tags/tag3.xml" ContentType="application/vnd.openxmlformats-officedocument.presentationml.tags+xml"/>
  <Override PartName="/ppt/theme/theme5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notesSlides/notesSlide1.xml" ContentType="application/vnd.openxmlformats-officedocument.presentationml.notesSlide+xml"/>
  <Override PartName="/ppt/charts/chart1.xml" ContentType="application/vnd.openxmlformats-officedocument.drawingml.chart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5" Type="http://schemas.microsoft.com/office/2020/02/relationships/classificationlabels" Target="docMetadata/LabelInfo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0" r:id="rId4"/>
    <p:sldMasterId id="2147483676" r:id="rId5"/>
    <p:sldMasterId id="2147483712" r:id="rId6"/>
    <p:sldMasterId id="2147483751" r:id="rId7"/>
  </p:sldMasterIdLst>
  <p:notesMasterIdLst>
    <p:notesMasterId r:id="rId9"/>
  </p:notesMasterIdLst>
  <p:sldIdLst>
    <p:sldId id="270" r:id="rId8"/>
  </p:sldIdLst>
  <p:sldSz cx="12192000" cy="6858000"/>
  <p:notesSz cx="6858000" cy="9144000"/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838" userDrawn="1">
          <p15:clr>
            <a:srgbClr val="A4A3A4"/>
          </p15:clr>
        </p15:guide>
        <p15:guide id="2" pos="937" userDrawn="1">
          <p15:clr>
            <a:srgbClr val="A4A3A4"/>
          </p15:clr>
        </p15:guide>
        <p15:guide id="3" pos="6743" userDrawn="1">
          <p15:clr>
            <a:srgbClr val="A4A3A4"/>
          </p15:clr>
        </p15:guide>
        <p15:guide id="4" orient="horz" pos="1185" userDrawn="1">
          <p15:clr>
            <a:srgbClr val="A4A3A4"/>
          </p15:clr>
        </p15:guide>
        <p15:guide id="5" pos="7333" userDrawn="1">
          <p15:clr>
            <a:srgbClr val="A4A3A4"/>
          </p15:clr>
        </p15:guide>
        <p15:guide id="6" orient="horz" pos="3702" userDrawn="1">
          <p15:clr>
            <a:srgbClr val="A4A3A4"/>
          </p15:clr>
        </p15:guide>
        <p15:guide id="7" orient="horz" pos="640" userDrawn="1">
          <p15:clr>
            <a:srgbClr val="A4A3A4"/>
          </p15:clr>
        </p15:guide>
        <p15:guide id="8" pos="1232" userDrawn="1">
          <p15:clr>
            <a:srgbClr val="A4A3A4"/>
          </p15:clr>
        </p15:guide>
        <p15:guide id="9" orient="horz" pos="3770" userDrawn="1">
          <p15:clr>
            <a:srgbClr val="A4A3A4"/>
          </p15:clr>
        </p15:guide>
        <p15:guide id="10" orient="horz" pos="1412" userDrawn="1">
          <p15:clr>
            <a:srgbClr val="A4A3A4"/>
          </p15:clr>
        </p15:guide>
        <p15:guide id="11" pos="2252" userDrawn="1">
          <p15:clr>
            <a:srgbClr val="A4A3A4"/>
          </p15:clr>
        </p15:guide>
        <p15:guide id="12" pos="4974" userDrawn="1">
          <p15:clr>
            <a:srgbClr val="A4A3A4"/>
          </p15:clr>
        </p15:guide>
        <p15:guide id="13" orient="horz" pos="3430" userDrawn="1">
          <p15:clr>
            <a:srgbClr val="A4A3A4"/>
          </p15:clr>
        </p15:guide>
        <p15:guide id="14" orient="horz" pos="3974" userDrawn="1">
          <p15:clr>
            <a:srgbClr val="A4A3A4"/>
          </p15:clr>
        </p15:guide>
        <p15:guide id="16" pos="3953" userDrawn="1">
          <p15:clr>
            <a:srgbClr val="A4A3A4"/>
          </p15:clr>
        </p15:guide>
        <p15:guide id="17" pos="3273" userDrawn="1">
          <p15:clr>
            <a:srgbClr val="A4A3A4"/>
          </p15:clr>
        </p15:guide>
        <p15:guide id="18" pos="5995" userDrawn="1">
          <p15:clr>
            <a:srgbClr val="A4A3A4"/>
          </p15:clr>
        </p15:guide>
        <p15:guide id="19" pos="1391" userDrawn="1">
          <p15:clr>
            <a:srgbClr val="A4A3A4"/>
          </p15:clr>
        </p15:guide>
        <p15:guide id="20" pos="4112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Meyer Raphael (KOM-PGA-VSF)" initials="RMe" lastIdx="1" clrIdx="0">
    <p:extLst>
      <p:ext uri="{19B8F6BF-5375-455C-9EA6-DF929625EA0E}">
        <p15:presenceInfo xmlns:p15="http://schemas.microsoft.com/office/powerpoint/2012/main" userId="Meyer Raphael (KOM-PGA-VSF)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444444"/>
    <a:srgbClr val="F6F6F6"/>
    <a:srgbClr val="C60018"/>
    <a:srgbClr val="8D8D8D"/>
    <a:srgbClr val="5A5A5A"/>
    <a:srgbClr val="E5E5E5"/>
    <a:srgbClr val="A8A8A8"/>
    <a:srgbClr val="BDBDBD"/>
    <a:srgbClr val="727272"/>
    <a:srgbClr val="D9D9D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ittlere Formatvorlage 2 - Akz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Keine Formatvorlage, Tabellenras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4660"/>
  </p:normalViewPr>
  <p:slideViewPr>
    <p:cSldViewPr snapToGrid="0">
      <p:cViewPr varScale="1">
        <p:scale>
          <a:sx n="148" d="100"/>
          <a:sy n="148" d="100"/>
        </p:scale>
        <p:origin x="654" y="114"/>
      </p:cViewPr>
      <p:guideLst>
        <p:guide orient="horz" pos="3838"/>
        <p:guide pos="937"/>
        <p:guide pos="6743"/>
        <p:guide orient="horz" pos="1185"/>
        <p:guide pos="7333"/>
        <p:guide orient="horz" pos="3702"/>
        <p:guide orient="horz" pos="640"/>
        <p:guide pos="1232"/>
        <p:guide orient="horz" pos="3770"/>
        <p:guide orient="horz" pos="1412"/>
        <p:guide pos="2252"/>
        <p:guide pos="4974"/>
        <p:guide orient="horz" pos="3430"/>
        <p:guide orient="horz" pos="3974"/>
        <p:guide pos="3953"/>
        <p:guide pos="3273"/>
        <p:guide pos="5995"/>
        <p:guide pos="1391"/>
        <p:guide pos="4112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66" d="100"/>
          <a:sy n="66" d="100"/>
        </p:scale>
        <p:origin x="0" y="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1.xml"/><Relationship Id="rId13" Type="http://schemas.openxmlformats.org/officeDocument/2006/relationships/theme" Target="theme/theme1.xml"/><Relationship Id="rId3" Type="http://schemas.openxmlformats.org/officeDocument/2006/relationships/customXml" Target="../customXml/item3.xml"/><Relationship Id="rId7" Type="http://schemas.openxmlformats.org/officeDocument/2006/relationships/slideMaster" Target="slideMasters/slideMaster4.xml"/><Relationship Id="rId12" Type="http://schemas.openxmlformats.org/officeDocument/2006/relationships/viewProps" Target="view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presProps" Target="presProps.xml"/><Relationship Id="rId5" Type="http://schemas.openxmlformats.org/officeDocument/2006/relationships/slideMaster" Target="slideMasters/slideMaster2.xml"/><Relationship Id="rId15" Type="http://schemas.microsoft.com/office/2016/11/relationships/changesInfo" Target="changesInfos/changesInfo1.xml"/><Relationship Id="rId10" Type="http://schemas.openxmlformats.org/officeDocument/2006/relationships/commentAuthors" Target="commentAuthors.xml"/><Relationship Id="rId4" Type="http://schemas.openxmlformats.org/officeDocument/2006/relationships/slideMaster" Target="slideMasters/slideMaster1.xml"/><Relationship Id="rId9" Type="http://schemas.openxmlformats.org/officeDocument/2006/relationships/notesMaster" Target="notesMasters/notesMaster1.xml"/><Relationship Id="rId14" Type="http://schemas.openxmlformats.org/officeDocument/2006/relationships/tableStyles" Target="tableStyle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yer Raphael (PAR-ES)" userId="79615dfe-ed48-4e74-a40f-4f7b034c1c27" providerId="ADAL" clId="{6F0F56D4-953D-4686-8DA4-A88D65B96112}"/>
    <pc:docChg chg="modSld sldOrd">
      <pc:chgData name="Meyer Raphael (PAR-ES)" userId="79615dfe-ed48-4e74-a40f-4f7b034c1c27" providerId="ADAL" clId="{6F0F56D4-953D-4686-8DA4-A88D65B96112}" dt="2021-02-08T13:40:24.476" v="0"/>
      <pc:docMkLst>
        <pc:docMk/>
      </pc:docMkLst>
      <pc:sldChg chg="ord">
        <pc:chgData name="Meyer Raphael (PAR-ES)" userId="79615dfe-ed48-4e74-a40f-4f7b034c1c27" providerId="ADAL" clId="{6F0F56D4-953D-4686-8DA4-A88D65B96112}" dt="2021-02-08T13:40:24.476" v="0"/>
        <pc:sldMkLst>
          <pc:docMk/>
          <pc:sldMk cId="277025245" sldId="325"/>
        </pc:sldMkLst>
      </pc:sldChg>
    </pc:docChg>
  </pc:docChgLst>
  <pc:docChgLst>
    <pc:chgData name="Meyer Raphael (PAR-ES)" userId="79615dfe-ed48-4e74-a40f-4f7b034c1c27" providerId="ADAL" clId="{09C02B11-E0D9-4F5C-A7AC-A38C35D7C045}"/>
    <pc:docChg chg="undo custSel addSld delSld modSld sldOrd">
      <pc:chgData name="Meyer Raphael (PAR-ES)" userId="79615dfe-ed48-4e74-a40f-4f7b034c1c27" providerId="ADAL" clId="{09C02B11-E0D9-4F5C-A7AC-A38C35D7C045}" dt="2021-03-25T08:23:58.620" v="108" actId="47"/>
      <pc:docMkLst>
        <pc:docMk/>
      </pc:docMkLst>
      <pc:sldChg chg="delSp modSp mod">
        <pc:chgData name="Meyer Raphael (PAR-ES)" userId="79615dfe-ed48-4e74-a40f-4f7b034c1c27" providerId="ADAL" clId="{09C02B11-E0D9-4F5C-A7AC-A38C35D7C045}" dt="2021-03-25T08:21:25.365" v="92" actId="478"/>
        <pc:sldMkLst>
          <pc:docMk/>
          <pc:sldMk cId="1667945532" sldId="306"/>
        </pc:sldMkLst>
        <pc:spChg chg="mod">
          <ac:chgData name="Meyer Raphael (PAR-ES)" userId="79615dfe-ed48-4e74-a40f-4f7b034c1c27" providerId="ADAL" clId="{09C02B11-E0D9-4F5C-A7AC-A38C35D7C045}" dt="2021-03-25T08:13:24.018" v="9" actId="20577"/>
          <ac:spMkLst>
            <pc:docMk/>
            <pc:sldMk cId="1667945532" sldId="30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1:23.157" v="91" actId="478"/>
          <ac:spMkLst>
            <pc:docMk/>
            <pc:sldMk cId="1667945532" sldId="306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25.365" v="92" actId="478"/>
          <ac:spMkLst>
            <pc:docMk/>
            <pc:sldMk cId="1667945532" sldId="306"/>
            <ac:spMk id="25" creationId="{9772D52D-035A-4D28-AE3A-4F5DD2C31620}"/>
          </ac:spMkLst>
        </pc:spChg>
        <pc:spChg chg="mod">
          <ac:chgData name="Meyer Raphael (PAR-ES)" userId="79615dfe-ed48-4e74-a40f-4f7b034c1c27" providerId="ADAL" clId="{09C02B11-E0D9-4F5C-A7AC-A38C35D7C045}" dt="2021-03-25T08:14:05.36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09C02B11-E0D9-4F5C-A7AC-A38C35D7C045}" dt="2021-03-25T08:19:01.866" v="6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09C02B11-E0D9-4F5C-A7AC-A38C35D7C045}" dt="2021-03-25T08:13:40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09C02B11-E0D9-4F5C-A7AC-A38C35D7C045}" dt="2021-03-25T08:16:32.332" v="46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09C02B11-E0D9-4F5C-A7AC-A38C35D7C045}" dt="2021-03-25T08:16:23.020" v="4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09C02B11-E0D9-4F5C-A7AC-A38C35D7C045}" dt="2021-03-25T08:19:09.265" v="71" actId="1035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Sp del mod">
        <pc:chgData name="Meyer Raphael (PAR-ES)" userId="79615dfe-ed48-4e74-a40f-4f7b034c1c27" providerId="ADAL" clId="{09C02B11-E0D9-4F5C-A7AC-A38C35D7C045}" dt="2021-03-25T08:21:39.073" v="93" actId="47"/>
        <pc:sldMkLst>
          <pc:docMk/>
          <pc:sldMk cId="1452322066" sldId="338"/>
        </pc:sldMkLst>
        <pc:spChg chg="del">
          <ac:chgData name="Meyer Raphael (PAR-ES)" userId="79615dfe-ed48-4e74-a40f-4f7b034c1c27" providerId="ADAL" clId="{09C02B11-E0D9-4F5C-A7AC-A38C35D7C045}" dt="2021-03-25T08:21:15.791" v="89" actId="478"/>
          <ac:spMkLst>
            <pc:docMk/>
            <pc:sldMk cId="1452322066" sldId="338"/>
            <ac:spMk id="22" creationId="{A4D052E9-A3D0-4D29-96C0-4125FCB1567B}"/>
          </ac:spMkLst>
        </pc:spChg>
        <pc:spChg chg="del">
          <ac:chgData name="Meyer Raphael (PAR-ES)" userId="79615dfe-ed48-4e74-a40f-4f7b034c1c27" providerId="ADAL" clId="{09C02B11-E0D9-4F5C-A7AC-A38C35D7C045}" dt="2021-03-25T08:21:18.409" v="90" actId="478"/>
          <ac:spMkLst>
            <pc:docMk/>
            <pc:sldMk cId="1452322066" sldId="338"/>
            <ac:spMk id="25" creationId="{9772D52D-035A-4D28-AE3A-4F5DD2C31620}"/>
          </ac:spMkLst>
        </pc:spChg>
      </pc:sldChg>
      <pc:sldChg chg="del">
        <pc:chgData name="Meyer Raphael (PAR-ES)" userId="79615dfe-ed48-4e74-a40f-4f7b034c1c27" providerId="ADAL" clId="{09C02B11-E0D9-4F5C-A7AC-A38C35D7C045}" dt="2021-03-25T08:23:58.620" v="108" actId="47"/>
        <pc:sldMkLst>
          <pc:docMk/>
          <pc:sldMk cId="4038211066" sldId="339"/>
        </pc:sldMkLst>
      </pc:sldChg>
      <pc:sldChg chg="addSp delSp modSp add mod ord">
        <pc:chgData name="Meyer Raphael (PAR-ES)" userId="79615dfe-ed48-4e74-a40f-4f7b034c1c27" providerId="ADAL" clId="{09C02B11-E0D9-4F5C-A7AC-A38C35D7C045}" dt="2021-03-25T08:21:12.124" v="88" actId="478"/>
        <pc:sldMkLst>
          <pc:docMk/>
          <pc:sldMk cId="205331994" sldId="340"/>
        </pc:sldMkLst>
        <pc:spChg chg="mod">
          <ac:chgData name="Meyer Raphael (PAR-ES)" userId="79615dfe-ed48-4e74-a40f-4f7b034c1c27" providerId="ADAL" clId="{09C02B11-E0D9-4F5C-A7AC-A38C35D7C045}" dt="2021-03-25T08:20:20.906" v="80"/>
          <ac:spMkLst>
            <pc:docMk/>
            <pc:sldMk cId="205331994" sldId="34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0:39.760" v="83" actId="14100"/>
          <ac:spMkLst>
            <pc:docMk/>
            <pc:sldMk cId="205331994" sldId="34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0:29.282" v="81"/>
          <ac:spMkLst>
            <pc:docMk/>
            <pc:sldMk cId="205331994" sldId="34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09C02B11-E0D9-4F5C-A7AC-A38C35D7C045}" dt="2021-03-25T08:21:12.124" v="88" actId="478"/>
          <ac:spMkLst>
            <pc:docMk/>
            <pc:sldMk cId="205331994" sldId="340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23" creationId="{59A67176-9DA6-430B-BB64-139CEB214D04}"/>
          </ac:spMkLst>
        </pc:spChg>
        <pc:spChg chg="del">
          <ac:chgData name="Meyer Raphael (PAR-ES)" userId="79615dfe-ed48-4e74-a40f-4f7b034c1c27" providerId="ADAL" clId="{09C02B11-E0D9-4F5C-A7AC-A38C35D7C045}" dt="2021-03-25T08:21:04.878" v="85" actId="478"/>
          <ac:spMkLst>
            <pc:docMk/>
            <pc:sldMk cId="205331994" sldId="340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0:00.473" v="78" actId="478"/>
          <ac:spMkLst>
            <pc:docMk/>
            <pc:sldMk cId="205331994" sldId="34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0:48.672" v="84"/>
          <ac:spMkLst>
            <pc:docMk/>
            <pc:sldMk cId="205331994" sldId="340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3" creationId="{A91A7DD2-F0E0-4917-8199-B69F319F5B11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6" creationId="{843A69D3-E1DE-4DAF-944A-4E83B41DC05F}"/>
          </ac:spMkLst>
        </pc:spChg>
        <pc:spChg chg="add mod">
          <ac:chgData name="Meyer Raphael (PAR-ES)" userId="79615dfe-ed48-4e74-a40f-4f7b034c1c27" providerId="ADAL" clId="{09C02B11-E0D9-4F5C-A7AC-A38C35D7C045}" dt="2021-03-25T08:20:10.413" v="79"/>
          <ac:spMkLst>
            <pc:docMk/>
            <pc:sldMk cId="205331994" sldId="340"/>
            <ac:spMk id="37" creationId="{8C979AD3-8E6B-4004-8657-758C0B3D62CF}"/>
          </ac:spMkLst>
        </pc:spChg>
        <pc:graphicFrameChg chg="mod">
          <ac:chgData name="Meyer Raphael (PAR-ES)" userId="79615dfe-ed48-4e74-a40f-4f7b034c1c27" providerId="ADAL" clId="{09C02B11-E0D9-4F5C-A7AC-A38C35D7C045}" dt="2021-03-25T08:21:09.464" v="87" actId="1076"/>
          <ac:graphicFrameMkLst>
            <pc:docMk/>
            <pc:sldMk cId="205331994" sldId="340"/>
            <ac:graphicFrameMk id="5" creationId="{4CF6AB8B-CAB9-4C7E-8E59-E00357A4D7F0}"/>
          </ac:graphicFrameMkLst>
        </pc:graphicFrameChg>
      </pc:sldChg>
      <pc:sldChg chg="addSp delSp modSp add mod ord">
        <pc:chgData name="Meyer Raphael (PAR-ES)" userId="79615dfe-ed48-4e74-a40f-4f7b034c1c27" providerId="ADAL" clId="{09C02B11-E0D9-4F5C-A7AC-A38C35D7C045}" dt="2021-03-25T08:23:56.416" v="107" actId="478"/>
        <pc:sldMkLst>
          <pc:docMk/>
          <pc:sldMk cId="3020850231" sldId="341"/>
        </pc:sldMkLst>
        <pc:spChg chg="mod">
          <ac:chgData name="Meyer Raphael (PAR-ES)" userId="79615dfe-ed48-4e74-a40f-4f7b034c1c27" providerId="ADAL" clId="{09C02B11-E0D9-4F5C-A7AC-A38C35D7C045}" dt="2021-03-25T08:23:18.133" v="102"/>
          <ac:spMkLst>
            <pc:docMk/>
            <pc:sldMk cId="3020850231" sldId="34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09C02B11-E0D9-4F5C-A7AC-A38C35D7C045}" dt="2021-03-25T08:22:53.478" v="99" actId="14100"/>
          <ac:spMkLst>
            <pc:docMk/>
            <pc:sldMk cId="3020850231" sldId="34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09C02B11-E0D9-4F5C-A7AC-A38C35D7C045}" dt="2021-03-25T08:23:25.645" v="103"/>
          <ac:spMkLst>
            <pc:docMk/>
            <pc:sldMk cId="3020850231" sldId="34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09C02B11-E0D9-4F5C-A7AC-A38C35D7C045}" dt="2021-03-25T08:23:55.215" v="106" actId="478"/>
          <ac:spMkLst>
            <pc:docMk/>
            <pc:sldMk cId="3020850231" sldId="341"/>
            <ac:spMk id="22" creationId="{A4D052E9-A3D0-4D29-96C0-4125FCB1567B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23" creationId="{372C58F4-D606-430A-AB2B-5690A120C6AE}"/>
          </ac:spMkLst>
        </pc:spChg>
        <pc:spChg chg="del">
          <ac:chgData name="Meyer Raphael (PAR-ES)" userId="79615dfe-ed48-4e74-a40f-4f7b034c1c27" providerId="ADAL" clId="{09C02B11-E0D9-4F5C-A7AC-A38C35D7C045}" dt="2021-03-25T08:23:56.416" v="107" actId="478"/>
          <ac:spMkLst>
            <pc:docMk/>
            <pc:sldMk cId="3020850231" sldId="341"/>
            <ac:spMk id="25" creationId="{9772D52D-035A-4D28-AE3A-4F5DD2C31620}"/>
          </ac:spMkLst>
        </pc:spChg>
        <pc:spChg chg="del">
          <ac:chgData name="Meyer Raphael (PAR-ES)" userId="79615dfe-ed48-4e74-a40f-4f7b034c1c27" providerId="ADAL" clId="{09C02B11-E0D9-4F5C-A7AC-A38C35D7C045}" dt="2021-03-25T08:22:07.481" v="94" actId="478"/>
          <ac:spMkLst>
            <pc:docMk/>
            <pc:sldMk cId="3020850231" sldId="34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09C02B11-E0D9-4F5C-A7AC-A38C35D7C045}" dt="2021-03-25T08:23:09.999" v="101" actId="14100"/>
          <ac:spMkLst>
            <pc:docMk/>
            <pc:sldMk cId="3020850231" sldId="34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3" creationId="{01D9B100-2B8B-40ED-8AC9-B55B4F6BB594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6" creationId="{3648375E-176D-41A3-8448-F5E94855D27D}"/>
          </ac:spMkLst>
        </pc:spChg>
        <pc:spChg chg="add mod">
          <ac:chgData name="Meyer Raphael (PAR-ES)" userId="79615dfe-ed48-4e74-a40f-4f7b034c1c27" providerId="ADAL" clId="{09C02B11-E0D9-4F5C-A7AC-A38C35D7C045}" dt="2021-03-25T08:22:37.404" v="95"/>
          <ac:spMkLst>
            <pc:docMk/>
            <pc:sldMk cId="3020850231" sldId="341"/>
            <ac:spMk id="37" creationId="{BAD0B686-0200-4A14-A3F8-A0B4DB338F4E}"/>
          </ac:spMkLst>
        </pc:spChg>
      </pc:sldChg>
    </pc:docChg>
  </pc:docChgLst>
  <pc:docChgLst>
    <pc:chgData name="Weigel Stefan (PAR-ES)" userId="fd3b2067-2981-4ad8-bf3a-d2e1004e4fa8" providerId="ADAL" clId="{C0405663-4E24-43A1-9C0F-378072DDAC97}"/>
    <pc:docChg chg="modSld">
      <pc:chgData name="Weigel Stefan (PAR-ES)" userId="fd3b2067-2981-4ad8-bf3a-d2e1004e4fa8" providerId="ADAL" clId="{C0405663-4E24-43A1-9C0F-378072DDAC97}" dt="2021-06-04T09:30:49.166" v="166" actId="1038"/>
      <pc:docMkLst>
        <pc:docMk/>
      </pc:docMkLst>
      <pc:sldChg chg="modSp mod">
        <pc:chgData name="Weigel Stefan (PAR-ES)" userId="fd3b2067-2981-4ad8-bf3a-d2e1004e4fa8" providerId="ADAL" clId="{C0405663-4E24-43A1-9C0F-378072DDAC97}" dt="2021-06-04T09:26:35.865" v="141" actId="27918"/>
        <pc:sldMkLst>
          <pc:docMk/>
          <pc:sldMk cId="1667945532" sldId="306"/>
        </pc:sldMkLst>
        <pc:spChg chg="mod">
          <ac:chgData name="Weigel Stefan (PAR-ES)" userId="fd3b2067-2981-4ad8-bf3a-d2e1004e4fa8" providerId="ADAL" clId="{C0405663-4E24-43A1-9C0F-378072DDAC97}" dt="2021-06-04T09:15:17.854" v="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15:37.763" v="1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19:54.598" v="62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15:47.449" v="21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26:09.030" v="137" actId="1037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18:50.133" v="4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20.868" v="163" actId="1037"/>
        <pc:sldMkLst>
          <pc:docMk/>
          <pc:sldMk cId="1357620443" sldId="359"/>
        </pc:sldMkLst>
        <pc:spChg chg="mod">
          <ac:chgData name="Weigel Stefan (PAR-ES)" userId="fd3b2067-2981-4ad8-bf3a-d2e1004e4fa8" providerId="ADAL" clId="{C0405663-4E24-43A1-9C0F-378072DDAC97}" dt="2021-06-04T09:21:15.824" v="81" actId="20577"/>
          <ac:spMkLst>
            <pc:docMk/>
            <pc:sldMk cId="1357620443" sldId="359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2:17.488" v="100" actId="20577"/>
          <ac:spMkLst>
            <pc:docMk/>
            <pc:sldMk cId="1357620443" sldId="359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0:58.968" v="79" actId="1038"/>
          <ac:spMkLst>
            <pc:docMk/>
            <pc:sldMk cId="1357620443" sldId="359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1:40.109" v="95" actId="20577"/>
          <ac:spMkLst>
            <pc:docMk/>
            <pc:sldMk cId="1357620443" sldId="359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0.868" v="163" actId="1037"/>
          <ac:spMkLst>
            <pc:docMk/>
            <pc:sldMk cId="1357620443" sldId="359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21:19.355" v="85" actId="1038"/>
          <ac:cxnSpMkLst>
            <pc:docMk/>
            <pc:sldMk cId="1357620443" sldId="359"/>
            <ac:cxnSpMk id="20" creationId="{07FCC63F-5E2F-43DF-84ED-5FFEC92A0042}"/>
          </ac:cxnSpMkLst>
        </pc:cxnChg>
      </pc:sldChg>
      <pc:sldChg chg="modSp mod">
        <pc:chgData name="Weigel Stefan (PAR-ES)" userId="fd3b2067-2981-4ad8-bf3a-d2e1004e4fa8" providerId="ADAL" clId="{C0405663-4E24-43A1-9C0F-378072DDAC97}" dt="2021-06-04T09:30:49.166" v="166" actId="1038"/>
        <pc:sldMkLst>
          <pc:docMk/>
          <pc:sldMk cId="2316055797" sldId="360"/>
        </pc:sldMkLst>
        <pc:spChg chg="mod">
          <ac:chgData name="Weigel Stefan (PAR-ES)" userId="fd3b2067-2981-4ad8-bf3a-d2e1004e4fa8" providerId="ADAL" clId="{C0405663-4E24-43A1-9C0F-378072DDAC97}" dt="2021-06-04T09:22:51.226" v="102" actId="20577"/>
          <ac:spMkLst>
            <pc:docMk/>
            <pc:sldMk cId="2316055797" sldId="360"/>
            <ac:spMk id="8" creationId="{5857C2A1-2CB8-4D4A-AEFD-E809BF73D04F}"/>
          </ac:spMkLst>
        </pc:spChg>
        <pc:spChg chg="mod">
          <ac:chgData name="Weigel Stefan (PAR-ES)" userId="fd3b2067-2981-4ad8-bf3a-d2e1004e4fa8" providerId="ADAL" clId="{C0405663-4E24-43A1-9C0F-378072DDAC97}" dt="2021-06-04T09:23:00.818" v="108" actId="20577"/>
          <ac:spMkLst>
            <pc:docMk/>
            <pc:sldMk cId="2316055797" sldId="360"/>
            <ac:spMk id="27" creationId="{46A6B042-39EE-4A58-BBAA-13D52264B660}"/>
          </ac:spMkLst>
        </pc:spChg>
        <pc:spChg chg="mod">
          <ac:chgData name="Weigel Stefan (PAR-ES)" userId="fd3b2067-2981-4ad8-bf3a-d2e1004e4fa8" providerId="ADAL" clId="{C0405663-4E24-43A1-9C0F-378072DDAC97}" dt="2021-06-04T09:23:16.087" v="122" actId="1038"/>
          <ac:spMkLst>
            <pc:docMk/>
            <pc:sldMk cId="2316055797" sldId="360"/>
            <ac:spMk id="28" creationId="{4492A3CD-6943-423D-BFEC-8129889E8B6F}"/>
          </ac:spMkLst>
        </pc:spChg>
        <pc:spChg chg="mod">
          <ac:chgData name="Weigel Stefan (PAR-ES)" userId="fd3b2067-2981-4ad8-bf3a-d2e1004e4fa8" providerId="ADAL" clId="{C0405663-4E24-43A1-9C0F-378072DDAC97}" dt="2021-06-04T09:29:53.297" v="161" actId="20577"/>
          <ac:spMkLst>
            <pc:docMk/>
            <pc:sldMk cId="2316055797" sldId="360"/>
            <ac:spMk id="31" creationId="{7491A47D-CAD4-478D-8F3A-296FFCB799F9}"/>
          </ac:spMkLst>
        </pc:spChg>
        <pc:spChg chg="mod">
          <ac:chgData name="Weigel Stefan (PAR-ES)" userId="fd3b2067-2981-4ad8-bf3a-d2e1004e4fa8" providerId="ADAL" clId="{C0405663-4E24-43A1-9C0F-378072DDAC97}" dt="2021-06-04T09:30:27.755" v="164" actId="1037"/>
          <ac:spMkLst>
            <pc:docMk/>
            <pc:sldMk cId="2316055797" sldId="360"/>
            <ac:spMk id="32" creationId="{E65DDA4F-7190-4D5B-B875-6818D18C9F6E}"/>
          </ac:spMkLst>
        </pc:spChg>
        <pc:cxnChg chg="mod">
          <ac:chgData name="Weigel Stefan (PAR-ES)" userId="fd3b2067-2981-4ad8-bf3a-d2e1004e4fa8" providerId="ADAL" clId="{C0405663-4E24-43A1-9C0F-378072DDAC97}" dt="2021-06-04T09:30:49.166" v="166" actId="1038"/>
          <ac:cxnSpMkLst>
            <pc:docMk/>
            <pc:sldMk cId="2316055797" sldId="360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4F219964-ECFF-451B-954E-AFA60EFA114B}"/>
    <pc:docChg chg="custSel addSld delSld modSld sldOrd">
      <pc:chgData name="Meyer Raphael (PAR-ES)" userId="79615dfe-ed48-4e74-a40f-4f7b034c1c27" providerId="ADAL" clId="{4F219964-ECFF-451B-954E-AFA60EFA114B}" dt="2021-05-17T07:13:17.952" v="117" actId="2696"/>
      <pc:docMkLst>
        <pc:docMk/>
      </pc:docMkLst>
      <pc:sldChg chg="modSp mod">
        <pc:chgData name="Meyer Raphael (PAR-ES)" userId="79615dfe-ed48-4e74-a40f-4f7b034c1c27" providerId="ADAL" clId="{4F219964-ECFF-451B-954E-AFA60EFA114B}" dt="2021-05-17T07:10:28.099" v="91" actId="1036"/>
        <pc:sldMkLst>
          <pc:docMk/>
          <pc:sldMk cId="1667945532" sldId="306"/>
        </pc:sldMkLst>
        <pc:spChg chg="mod">
          <ac:chgData name="Meyer Raphael (PAR-ES)" userId="79615dfe-ed48-4e74-a40f-4f7b034c1c27" providerId="ADAL" clId="{4F219964-ECFF-451B-954E-AFA60EFA114B}" dt="2021-05-17T07:04:46.12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F219964-ECFF-451B-954E-AFA60EFA114B}" dt="2021-05-17T07:05:12.892" v="2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F219964-ECFF-451B-954E-AFA60EFA114B}" dt="2021-05-17T07:10:28.099" v="91" actId="103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F219964-ECFF-451B-954E-AFA60EFA114B}" dt="2021-05-17T07:05:28.578" v="2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4F219964-ECFF-451B-954E-AFA60EFA114B}" dt="2021-05-17T07:07:12.088" v="60" actId="1035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4F219964-ECFF-451B-954E-AFA60EFA114B}" dt="2021-05-17T07:11:49.919" v="105" actId="2696"/>
        <pc:sldMkLst>
          <pc:docMk/>
          <pc:sldMk cId="258869739" sldId="352"/>
        </pc:sldMkLst>
      </pc:sldChg>
      <pc:sldChg chg="del">
        <pc:chgData name="Meyer Raphael (PAR-ES)" userId="79615dfe-ed48-4e74-a40f-4f7b034c1c27" providerId="ADAL" clId="{4F219964-ECFF-451B-954E-AFA60EFA114B}" dt="2021-05-17T07:13:17.952" v="117" actId="2696"/>
        <pc:sldMkLst>
          <pc:docMk/>
          <pc:sldMk cId="1811537745" sldId="353"/>
        </pc:sldMkLst>
      </pc:sldChg>
      <pc:sldChg chg="addSp delSp modSp add mod ord">
        <pc:chgData name="Meyer Raphael (PAR-ES)" userId="79615dfe-ed48-4e74-a40f-4f7b034c1c27" providerId="ADAL" clId="{4F219964-ECFF-451B-954E-AFA60EFA114B}" dt="2021-05-17T07:11:37.879" v="104"/>
        <pc:sldMkLst>
          <pc:docMk/>
          <pc:sldMk cId="283003333" sldId="354"/>
        </pc:sldMkLst>
        <pc:spChg chg="mod">
          <ac:chgData name="Meyer Raphael (PAR-ES)" userId="79615dfe-ed48-4e74-a40f-4f7b034c1c27" providerId="ADAL" clId="{4F219964-ECFF-451B-954E-AFA60EFA114B}" dt="2021-05-17T07:11:05" v="100"/>
          <ac:spMkLst>
            <pc:docMk/>
            <pc:sldMk cId="283003333" sldId="35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1:26.031" v="103" actId="14100"/>
          <ac:spMkLst>
            <pc:docMk/>
            <pc:sldMk cId="283003333" sldId="35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1:14.081" v="101"/>
          <ac:spMkLst>
            <pc:docMk/>
            <pc:sldMk cId="283003333" sldId="35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1" creationId="{2AACE76F-C9E5-48F3-9962-E024B0F75632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2" creationId="{88F8814D-97E2-4914-B78F-08E6032DDCBC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3" creationId="{0297700A-3B5A-4841-9CD9-E33F8AC148D1}"/>
          </ac:spMkLst>
        </pc:spChg>
        <pc:spChg chg="add mod">
          <ac:chgData name="Meyer Raphael (PAR-ES)" userId="79615dfe-ed48-4e74-a40f-4f7b034c1c27" providerId="ADAL" clId="{4F219964-ECFF-451B-954E-AFA60EFA114B}" dt="2021-05-17T07:10:56.934" v="99"/>
          <ac:spMkLst>
            <pc:docMk/>
            <pc:sldMk cId="283003333" sldId="354"/>
            <ac:spMk id="25" creationId="{AD0421BB-29D5-4E02-AB15-40FDE9E96718}"/>
          </ac:spMkLst>
        </pc:spChg>
        <pc:spChg chg="del">
          <ac:chgData name="Meyer Raphael (PAR-ES)" userId="79615dfe-ed48-4e74-a40f-4f7b034c1c27" providerId="ADAL" clId="{4F219964-ECFF-451B-954E-AFA60EFA114B}" dt="2021-05-17T07:10:47.340" v="98" actId="478"/>
          <ac:spMkLst>
            <pc:docMk/>
            <pc:sldMk cId="283003333" sldId="35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1:37.879" v="104"/>
          <ac:spMkLst>
            <pc:docMk/>
            <pc:sldMk cId="283003333" sldId="35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4F219964-ECFF-451B-954E-AFA60EFA114B}" dt="2021-05-17T07:13:06.719" v="116" actId="14100"/>
        <pc:sldMkLst>
          <pc:docMk/>
          <pc:sldMk cId="2212603589" sldId="355"/>
        </pc:sldMkLst>
        <pc:spChg chg="mod">
          <ac:chgData name="Meyer Raphael (PAR-ES)" userId="79615dfe-ed48-4e74-a40f-4f7b034c1c27" providerId="ADAL" clId="{4F219964-ECFF-451B-954E-AFA60EFA114B}" dt="2021-05-17T07:12:32.380" v="110"/>
          <ac:spMkLst>
            <pc:docMk/>
            <pc:sldMk cId="2212603589" sldId="35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F219964-ECFF-451B-954E-AFA60EFA114B}" dt="2021-05-17T07:12:50.893" v="113" actId="14100"/>
          <ac:spMkLst>
            <pc:docMk/>
            <pc:sldMk cId="2212603589" sldId="35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F219964-ECFF-451B-954E-AFA60EFA114B}" dt="2021-05-17T07:12:04.890" v="108" actId="478"/>
          <ac:spMkLst>
            <pc:docMk/>
            <pc:sldMk cId="2212603589" sldId="35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F219964-ECFF-451B-954E-AFA60EFA114B}" dt="2021-05-17T07:12:40.246" v="111"/>
          <ac:spMkLst>
            <pc:docMk/>
            <pc:sldMk cId="2212603589" sldId="35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1" creationId="{67B01A6C-2D47-49D0-A256-AB828CC1F56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2" creationId="{7A671292-99C0-49AC-B9D3-6127FD328852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3" creationId="{E1EDEBD4-4925-40A4-8B16-8E6B79D027D0}"/>
          </ac:spMkLst>
        </pc:spChg>
        <pc:spChg chg="add mod">
          <ac:chgData name="Meyer Raphael (PAR-ES)" userId="79615dfe-ed48-4e74-a40f-4f7b034c1c27" providerId="ADAL" clId="{4F219964-ECFF-451B-954E-AFA60EFA114B}" dt="2021-05-17T07:12:15.824" v="109"/>
          <ac:spMkLst>
            <pc:docMk/>
            <pc:sldMk cId="2212603589" sldId="355"/>
            <ac:spMk id="25" creationId="{1686F50F-A1F1-4312-A718-0B6D2D6DF005}"/>
          </ac:spMkLst>
        </pc:spChg>
        <pc:spChg chg="del mod">
          <ac:chgData name="Meyer Raphael (PAR-ES)" userId="79615dfe-ed48-4e74-a40f-4f7b034c1c27" providerId="ADAL" clId="{4F219964-ECFF-451B-954E-AFA60EFA114B}" dt="2021-05-17T07:12:01.165" v="107" actId="478"/>
          <ac:spMkLst>
            <pc:docMk/>
            <pc:sldMk cId="2212603589" sldId="35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F219964-ECFF-451B-954E-AFA60EFA114B}" dt="2021-05-17T07:13:06.719" v="116" actId="14100"/>
          <ac:spMkLst>
            <pc:docMk/>
            <pc:sldMk cId="2212603589" sldId="355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EB920B20-9E76-44F1-B795-88FF7E10FD37}"/>
    <pc:docChg chg="modSld">
      <pc:chgData name="Meyer Raphael (PAR-ES)" userId="79615dfe-ed48-4e74-a40f-4f7b034c1c27" providerId="ADAL" clId="{EB920B20-9E76-44F1-B795-88FF7E10FD37}" dt="2021-09-10T07:18:03.290" v="121" actId="1076"/>
      <pc:docMkLst>
        <pc:docMk/>
      </pc:docMkLst>
      <pc:sldChg chg="modSp mod">
        <pc:chgData name="Meyer Raphael (PAR-ES)" userId="79615dfe-ed48-4e74-a40f-4f7b034c1c27" providerId="ADAL" clId="{EB920B20-9E76-44F1-B795-88FF7E10FD37}" dt="2021-09-10T07:17:56.959" v="120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EB920B20-9E76-44F1-B795-88FF7E10FD37}" dt="2021-09-10T07:17:56.959" v="120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0:56.739" v="85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B920B20-9E76-44F1-B795-88FF7E10FD37}" dt="2021-09-10T06:48:23.411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0:56.739" v="85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7:51.387" v="119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EB920B20-9E76-44F1-B795-88FF7E10FD37}" dt="2021-09-10T07:17:51.387" v="119" actId="1076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18.658" v="103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2:55.621" v="3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18.658" v="103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B920B20-9E76-44F1-B795-88FF7E10FD37}" dt="2021-09-10T07:18:03.290" v="121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EB920B20-9E76-44F1-B795-88FF7E10FD37}" dt="2021-09-10T07:18:03.290" v="121" actId="1076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B920B20-9E76-44F1-B795-88FF7E10FD37}" dt="2021-09-10T07:01:29.510" v="117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B920B20-9E76-44F1-B795-88FF7E10FD37}" dt="2021-09-10T06:53:00.873" v="3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B920B20-9E76-44F1-B795-88FF7E10FD37}" dt="2021-09-10T07:01:29.510" v="117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6E68D57-EC4A-48B9-B328-0E92837B872C}"/>
    <pc:docChg chg="undo custSel addSld delSld modSld">
      <pc:chgData name="Meyer Raphael (PAR-ES)" userId="79615dfe-ed48-4e74-a40f-4f7b034c1c27" providerId="ADAL" clId="{46E68D57-EC4A-48B9-B328-0E92837B872C}" dt="2021-11-04T10:48:15.515" v="103"/>
      <pc:docMkLst>
        <pc:docMk/>
      </pc:docMkLst>
      <pc:sldChg chg="modSp mod">
        <pc:chgData name="Meyer Raphael (PAR-ES)" userId="79615dfe-ed48-4e74-a40f-4f7b034c1c27" providerId="ADAL" clId="{46E68D57-EC4A-48B9-B328-0E92837B872C}" dt="2021-11-04T10:42:08.817" v="89" actId="207"/>
        <pc:sldMkLst>
          <pc:docMk/>
          <pc:sldMk cId="3808035539" sldId="270"/>
        </pc:sldMkLst>
        <pc:spChg chg="mod">
          <ac:chgData name="Meyer Raphael (PAR-ES)" userId="79615dfe-ed48-4e74-a40f-4f7b034c1c27" providerId="ADAL" clId="{46E68D57-EC4A-48B9-B328-0E92837B872C}" dt="2021-11-04T10:42:08.817" v="89" actId="207"/>
          <ac:spMkLst>
            <pc:docMk/>
            <pc:sldMk cId="3808035539" sldId="270"/>
            <ac:spMk id="7" creationId="{CE60A944-7104-442D-B06A-85C8256131F7}"/>
          </ac:spMkLst>
        </pc:spChg>
        <pc:spChg chg="mod">
          <ac:chgData name="Meyer Raphael (PAR-ES)" userId="79615dfe-ed48-4e74-a40f-4f7b034c1c27" providerId="ADAL" clId="{46E68D57-EC4A-48B9-B328-0E92837B872C}" dt="2021-11-04T10:39:47.696" v="88" actId="1036"/>
          <ac:spMkLst>
            <pc:docMk/>
            <pc:sldMk cId="3808035539" sldId="270"/>
            <ac:spMk id="10" creationId="{41B9B9AB-4B12-4760-AF37-4FABDDFAE68B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38:37.436" v="79" actId="1038"/>
        <pc:sldMkLst>
          <pc:docMk/>
          <pc:sldMk cId="3677740869" sldId="271"/>
        </pc:sldMkLst>
        <pc:spChg chg="mod">
          <ac:chgData name="Meyer Raphael (PAR-ES)" userId="79615dfe-ed48-4e74-a40f-4f7b034c1c27" providerId="ADAL" clId="{46E68D57-EC4A-48B9-B328-0E92837B872C}" dt="2021-11-04T10:34:26.402" v="16" actId="20577"/>
          <ac:spMkLst>
            <pc:docMk/>
            <pc:sldMk cId="3677740869" sldId="271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33:28.590" v="10" actId="478"/>
          <ac:spMkLst>
            <pc:docMk/>
            <pc:sldMk cId="3677740869" sldId="271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38:37.436" v="79" actId="1038"/>
          <ac:spMkLst>
            <pc:docMk/>
            <pc:sldMk cId="3677740869" sldId="271"/>
            <ac:spMk id="6" creationId="{43DF758D-1D72-4940-A1AE-B914B7A641D5}"/>
          </ac:spMkLst>
        </pc:spChg>
        <pc:spChg chg="add mod">
          <ac:chgData name="Meyer Raphael (PAR-ES)" userId="79615dfe-ed48-4e74-a40f-4f7b034c1c27" providerId="ADAL" clId="{46E68D57-EC4A-48B9-B328-0E92837B872C}" dt="2021-11-04T10:34:33.002" v="19"/>
          <ac:spMkLst>
            <pc:docMk/>
            <pc:sldMk cId="3677740869" sldId="271"/>
            <ac:spMk id="7" creationId="{F89A807E-3A97-42E9-81E0-CE2025105F4C}"/>
          </ac:spMkLst>
        </pc:spChg>
      </pc:sldChg>
      <pc:sldChg chg="addSp delSp modSp mod">
        <pc:chgData name="Meyer Raphael (PAR-ES)" userId="79615dfe-ed48-4e74-a40f-4f7b034c1c27" providerId="ADAL" clId="{46E68D57-EC4A-48B9-B328-0E92837B872C}" dt="2021-11-04T10:44:31.407" v="96"/>
        <pc:sldMkLst>
          <pc:docMk/>
          <pc:sldMk cId="1963209825" sldId="272"/>
        </pc:sldMkLst>
        <pc:spChg chg="mod">
          <ac:chgData name="Meyer Raphael (PAR-ES)" userId="79615dfe-ed48-4e74-a40f-4f7b034c1c27" providerId="ADAL" clId="{46E68D57-EC4A-48B9-B328-0E92837B872C}" dt="2021-11-04T10:44:25.829" v="95" actId="21"/>
          <ac:spMkLst>
            <pc:docMk/>
            <pc:sldMk cId="1963209825" sldId="272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3:56.924" v="91" actId="478"/>
          <ac:spMkLst>
            <pc:docMk/>
            <pc:sldMk cId="1963209825" sldId="272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3:50.784" v="90"/>
          <ac:spMkLst>
            <pc:docMk/>
            <pc:sldMk cId="1963209825" sldId="272"/>
            <ac:spMk id="6" creationId="{CF6DBC6D-330A-4C20-9AEB-024C54AD5363}"/>
          </ac:spMkLst>
        </pc:spChg>
        <pc:spChg chg="add mod">
          <ac:chgData name="Meyer Raphael (PAR-ES)" userId="79615dfe-ed48-4e74-a40f-4f7b034c1c27" providerId="ADAL" clId="{46E68D57-EC4A-48B9-B328-0E92837B872C}" dt="2021-11-04T10:44:31.407" v="96"/>
          <ac:spMkLst>
            <pc:docMk/>
            <pc:sldMk cId="1963209825" sldId="272"/>
            <ac:spMk id="7" creationId="{78F08A34-A86E-4774-9EC1-635781A0CFBC}"/>
          </ac:spMkLst>
        </pc:spChg>
        <pc:graphicFrameChg chg="mod">
          <ac:chgData name="Meyer Raphael (PAR-ES)" userId="79615dfe-ed48-4e74-a40f-4f7b034c1c27" providerId="ADAL" clId="{46E68D57-EC4A-48B9-B328-0E92837B872C}" dt="2021-11-04T10:32:13.969" v="8" actId="207"/>
          <ac:graphicFrameMkLst>
            <pc:docMk/>
            <pc:sldMk cId="1963209825" sldId="272"/>
            <ac:graphicFrameMk id="9" creationId="{00000000-0000-0000-0000-000000000000}"/>
          </ac:graphicFrameMkLst>
        </pc:graphicFrameChg>
      </pc:sldChg>
      <pc:sldChg chg="addSp delSp modSp mod">
        <pc:chgData name="Meyer Raphael (PAR-ES)" userId="79615dfe-ed48-4e74-a40f-4f7b034c1c27" providerId="ADAL" clId="{46E68D57-EC4A-48B9-B328-0E92837B872C}" dt="2021-11-04T10:48:15.515" v="103"/>
        <pc:sldMkLst>
          <pc:docMk/>
          <pc:sldMk cId="1065586608" sldId="273"/>
        </pc:sldMkLst>
        <pc:spChg chg="mod">
          <ac:chgData name="Meyer Raphael (PAR-ES)" userId="79615dfe-ed48-4e74-a40f-4f7b034c1c27" providerId="ADAL" clId="{46E68D57-EC4A-48B9-B328-0E92837B872C}" dt="2021-11-04T10:48:10.691" v="102" actId="21"/>
          <ac:spMkLst>
            <pc:docMk/>
            <pc:sldMk cId="1065586608" sldId="273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46E68D57-EC4A-48B9-B328-0E92837B872C}" dt="2021-11-04T10:47:42.874" v="98" actId="478"/>
          <ac:spMkLst>
            <pc:docMk/>
            <pc:sldMk cId="1065586608" sldId="273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46E68D57-EC4A-48B9-B328-0E92837B872C}" dt="2021-11-04T10:47:38.596" v="97"/>
          <ac:spMkLst>
            <pc:docMk/>
            <pc:sldMk cId="1065586608" sldId="273"/>
            <ac:spMk id="6" creationId="{E0F162F0-F370-43B9-9CC4-2142C851FD99}"/>
          </ac:spMkLst>
        </pc:spChg>
        <pc:spChg chg="add mod">
          <ac:chgData name="Meyer Raphael (PAR-ES)" userId="79615dfe-ed48-4e74-a40f-4f7b034c1c27" providerId="ADAL" clId="{46E68D57-EC4A-48B9-B328-0E92837B872C}" dt="2021-11-04T10:48:15.515" v="103"/>
          <ac:spMkLst>
            <pc:docMk/>
            <pc:sldMk cId="1065586608" sldId="273"/>
            <ac:spMk id="7" creationId="{79CA5D86-E4EE-4B06-939E-8A7198BAD8B9}"/>
          </ac:spMkLst>
        </pc:spChg>
        <pc:graphicFrameChg chg="mod">
          <ac:chgData name="Meyer Raphael (PAR-ES)" userId="79615dfe-ed48-4e74-a40f-4f7b034c1c27" providerId="ADAL" clId="{46E68D57-EC4A-48B9-B328-0E92837B872C}" dt="2021-11-04T10:32:17.259" v="9" actId="207"/>
          <ac:graphicFrameMkLst>
            <pc:docMk/>
            <pc:sldMk cId="1065586608" sldId="273"/>
            <ac:graphicFrameMk id="9" creationId="{00000000-0000-0000-0000-000000000000}"/>
          </ac:graphicFrameMkLst>
        </pc:graphicFrameChg>
      </pc:sldChg>
      <pc:sldChg chg="addSp modSp add del mod">
        <pc:chgData name="Meyer Raphael (PAR-ES)" userId="79615dfe-ed48-4e74-a40f-4f7b034c1c27" providerId="ADAL" clId="{46E68D57-EC4A-48B9-B328-0E92837B872C}" dt="2021-11-04T10:27:45.248" v="7" actId="47"/>
        <pc:sldMkLst>
          <pc:docMk/>
          <pc:sldMk cId="1265215366" sldId="274"/>
        </pc:sldMkLst>
        <pc:spChg chg="add mod">
          <ac:chgData name="Meyer Raphael (PAR-ES)" userId="79615dfe-ed48-4e74-a40f-4f7b034c1c27" providerId="ADAL" clId="{46E68D57-EC4A-48B9-B328-0E92837B872C}" dt="2021-11-04T10:27:34.679" v="3"/>
          <ac:spMkLst>
            <pc:docMk/>
            <pc:sldMk cId="1265215366" sldId="274"/>
            <ac:spMk id="8" creationId="{A00CF08C-850D-4011-ACFC-DD6A026BC1CB}"/>
          </ac:spMkLst>
        </pc:spChg>
        <pc:spChg chg="mod">
          <ac:chgData name="Meyer Raphael (PAR-ES)" userId="79615dfe-ed48-4e74-a40f-4f7b034c1c27" providerId="ADAL" clId="{46E68D57-EC4A-48B9-B328-0E92837B872C}" dt="2021-11-04T10:14:41.931" v="2" actId="1076"/>
          <ac:spMkLst>
            <pc:docMk/>
            <pc:sldMk cId="1265215366" sldId="274"/>
            <ac:spMk id="10" creationId="{41B9B9AB-4B12-4760-AF37-4FABDDFAE68B}"/>
          </ac:spMkLst>
        </pc:spChg>
      </pc:sldChg>
    </pc:docChg>
  </pc:docChgLst>
  <pc:docChgLst>
    <pc:chgData name="Meyer Raphael (PAR-ES)" userId="79615dfe-ed48-4e74-a40f-4f7b034c1c27" providerId="ADAL" clId="{34058080-7696-4E4E-B4DE-D9FA9E966716}"/>
    <pc:docChg chg="undo custSel addSld delSld modSld sldOrd">
      <pc:chgData name="Meyer Raphael (PAR-ES)" userId="79615dfe-ed48-4e74-a40f-4f7b034c1c27" providerId="ADAL" clId="{34058080-7696-4E4E-B4DE-D9FA9E966716}" dt="2021-05-20T07:12:52.192" v="110" actId="1038"/>
      <pc:docMkLst>
        <pc:docMk/>
      </pc:docMkLst>
      <pc:sldChg chg="modSp mod">
        <pc:chgData name="Meyer Raphael (PAR-ES)" userId="79615dfe-ed48-4e74-a40f-4f7b034c1c27" providerId="ADAL" clId="{34058080-7696-4E4E-B4DE-D9FA9E966716}" dt="2021-05-20T07:12:47.022" v="109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34058080-7696-4E4E-B4DE-D9FA9E966716}" dt="2021-05-20T07:02:45.308" v="2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4058080-7696-4E4E-B4DE-D9FA9E966716}" dt="2021-05-20T07:07:39.642" v="68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4058080-7696-4E4E-B4DE-D9FA9E966716}" dt="2021-05-20T07:05:47.304" v="5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4058080-7696-4E4E-B4DE-D9FA9E966716}" dt="2021-05-20T07:07:59.669" v="80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4058080-7696-4E4E-B4DE-D9FA9E966716}" dt="2021-05-20T07:06:01.325" v="53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34058080-7696-4E4E-B4DE-D9FA9E966716}" dt="2021-05-20T07:12:47.022" v="109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34058080-7696-4E4E-B4DE-D9FA9E966716}" dt="2021-05-20T07:06:27.823" v="62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4058080-7696-4E4E-B4DE-D9FA9E966716}" dt="2021-05-20T07:06:20.784" v="60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4058080-7696-4E4E-B4DE-D9FA9E966716}" dt="2021-05-20T07:09:59.910" v="92" actId="47"/>
        <pc:sldMkLst>
          <pc:docMk/>
          <pc:sldMk cId="283003333" sldId="354"/>
        </pc:sldMkLst>
      </pc:sldChg>
      <pc:sldChg chg="del">
        <pc:chgData name="Meyer Raphael (PAR-ES)" userId="79615dfe-ed48-4e74-a40f-4f7b034c1c27" providerId="ADAL" clId="{34058080-7696-4E4E-B4DE-D9FA9E966716}" dt="2021-05-20T07:12:19.163" v="103" actId="2696"/>
        <pc:sldMkLst>
          <pc:docMk/>
          <pc:sldMk cId="2212603589" sldId="355"/>
        </pc:sldMkLst>
      </pc:sldChg>
      <pc:sldChg chg="addSp delSp modSp add mod ord">
        <pc:chgData name="Meyer Raphael (PAR-ES)" userId="79615dfe-ed48-4e74-a40f-4f7b034c1c27" providerId="ADAL" clId="{34058080-7696-4E4E-B4DE-D9FA9E966716}" dt="2021-05-20T07:12:39.196" v="108" actId="1038"/>
        <pc:sldMkLst>
          <pc:docMk/>
          <pc:sldMk cId="1952189380" sldId="356"/>
        </pc:sldMkLst>
        <pc:spChg chg="mod">
          <ac:chgData name="Meyer Raphael (PAR-ES)" userId="79615dfe-ed48-4e74-a40f-4f7b034c1c27" providerId="ADAL" clId="{34058080-7696-4E4E-B4DE-D9FA9E966716}" dt="2021-05-20T07:08:47.411" v="89"/>
          <ac:spMkLst>
            <pc:docMk/>
            <pc:sldMk cId="1952189380" sldId="35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33.188" v="107" actId="20577"/>
          <ac:spMkLst>
            <pc:docMk/>
            <pc:sldMk cId="1952189380" sldId="35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09:02.388" v="90"/>
          <ac:spMkLst>
            <pc:docMk/>
            <pc:sldMk cId="1952189380" sldId="35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1" creationId="{E68E7EE3-8B42-4FEE-8D53-08C4BE24C0EF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2" creationId="{B4E2CA27-B1E6-47FF-8EE3-0B3999F7C055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3" creationId="{0B9A5A25-A542-4536-B6A4-2B29273B2039}"/>
          </ac:spMkLst>
        </pc:spChg>
        <pc:spChg chg="add mod">
          <ac:chgData name="Meyer Raphael (PAR-ES)" userId="79615dfe-ed48-4e74-a40f-4f7b034c1c27" providerId="ADAL" clId="{34058080-7696-4E4E-B4DE-D9FA9E966716}" dt="2021-05-20T07:08:36.355" v="88"/>
          <ac:spMkLst>
            <pc:docMk/>
            <pc:sldMk cId="1952189380" sldId="356"/>
            <ac:spMk id="25" creationId="{2708F289-5AAF-42CB-BC70-6D30BF3A33B6}"/>
          </ac:spMkLst>
        </pc:spChg>
        <pc:spChg chg="del">
          <ac:chgData name="Meyer Raphael (PAR-ES)" userId="79615dfe-ed48-4e74-a40f-4f7b034c1c27" providerId="ADAL" clId="{34058080-7696-4E4E-B4DE-D9FA9E966716}" dt="2021-05-20T07:08:25.892" v="87" actId="478"/>
          <ac:spMkLst>
            <pc:docMk/>
            <pc:sldMk cId="1952189380" sldId="35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09:18.269" v="91"/>
          <ac:spMkLst>
            <pc:docMk/>
            <pc:sldMk cId="1952189380" sldId="356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39.196" v="108" actId="1038"/>
          <ac:cxnSpMkLst>
            <pc:docMk/>
            <pc:sldMk cId="1952189380" sldId="356"/>
            <ac:cxnSpMk id="20" creationId="{07FCC63F-5E2F-43DF-84ED-5FFEC92A0042}"/>
          </ac:cxnSpMkLst>
        </pc:cxnChg>
      </pc:sldChg>
      <pc:sldChg chg="addSp delSp modSp add mod ord">
        <pc:chgData name="Meyer Raphael (PAR-ES)" userId="79615dfe-ed48-4e74-a40f-4f7b034c1c27" providerId="ADAL" clId="{34058080-7696-4E4E-B4DE-D9FA9E966716}" dt="2021-05-20T07:12:52.192" v="110" actId="1038"/>
        <pc:sldMkLst>
          <pc:docMk/>
          <pc:sldMk cId="3480515475" sldId="357"/>
        </pc:sldMkLst>
        <pc:spChg chg="mod">
          <ac:chgData name="Meyer Raphael (PAR-ES)" userId="79615dfe-ed48-4e74-a40f-4f7b034c1c27" providerId="ADAL" clId="{34058080-7696-4E4E-B4DE-D9FA9E966716}" dt="2021-05-20T07:11:12.131" v="95"/>
          <ac:spMkLst>
            <pc:docMk/>
            <pc:sldMk cId="3480515475" sldId="35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4058080-7696-4E4E-B4DE-D9FA9E966716}" dt="2021-05-20T07:12:11.838" v="102" actId="14100"/>
          <ac:spMkLst>
            <pc:docMk/>
            <pc:sldMk cId="3480515475" sldId="35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4058080-7696-4E4E-B4DE-D9FA9E966716}" dt="2021-05-20T07:11:22.876" v="96"/>
          <ac:spMkLst>
            <pc:docMk/>
            <pc:sldMk cId="3480515475" sldId="35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1" creationId="{F72EFDF1-FA83-4782-B1D5-7C4AFB360BA7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2" creationId="{58AF7E8E-0DAB-4E61-9D76-1EA9EBF82B58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3" creationId="{2E29F174-F265-4209-8FC7-984ABF017A9B}"/>
          </ac:spMkLst>
        </pc:spChg>
        <pc:spChg chg="add mod">
          <ac:chgData name="Meyer Raphael (PAR-ES)" userId="79615dfe-ed48-4e74-a40f-4f7b034c1c27" providerId="ADAL" clId="{34058080-7696-4E4E-B4DE-D9FA9E966716}" dt="2021-05-20T07:11:03.533" v="94"/>
          <ac:spMkLst>
            <pc:docMk/>
            <pc:sldMk cId="3480515475" sldId="357"/>
            <ac:spMk id="25" creationId="{15C255B4-85BA-4997-9FBE-A6058807AC3C}"/>
          </ac:spMkLst>
        </pc:spChg>
        <pc:spChg chg="del">
          <ac:chgData name="Meyer Raphael (PAR-ES)" userId="79615dfe-ed48-4e74-a40f-4f7b034c1c27" providerId="ADAL" clId="{34058080-7696-4E4E-B4DE-D9FA9E966716}" dt="2021-05-20T07:10:54.720" v="93" actId="478"/>
          <ac:spMkLst>
            <pc:docMk/>
            <pc:sldMk cId="3480515475" sldId="35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4058080-7696-4E4E-B4DE-D9FA9E966716}" dt="2021-05-20T07:11:59.631" v="100" actId="14100"/>
          <ac:spMkLst>
            <pc:docMk/>
            <pc:sldMk cId="3480515475" sldId="357"/>
            <ac:spMk id="27" creationId="{46A6B042-39EE-4A58-BBAA-13D52264B660}"/>
          </ac:spMkLst>
        </pc:spChg>
        <pc:cxnChg chg="mod">
          <ac:chgData name="Meyer Raphael (PAR-ES)" userId="79615dfe-ed48-4e74-a40f-4f7b034c1c27" providerId="ADAL" clId="{34058080-7696-4E4E-B4DE-D9FA9E966716}" dt="2021-05-20T07:12:52.192" v="110" actId="1038"/>
          <ac:cxnSpMkLst>
            <pc:docMk/>
            <pc:sldMk cId="3480515475" sldId="357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20CDF186-CBE6-4933-86DD-8AB20520AB06}"/>
    <pc:docChg chg="undo custSel addSld delSld modSld sldOrd">
      <pc:chgData name="Meyer Raphael (PAR-ES)" userId="79615dfe-ed48-4e74-a40f-4f7b034c1c27" providerId="ADAL" clId="{20CDF186-CBE6-4933-86DD-8AB20520AB06}" dt="2022-02-21T10:58:55.846" v="289"/>
      <pc:docMkLst>
        <pc:docMk/>
      </pc:docMkLst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063731919" sldId="260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808035539" sldId="270"/>
        </pc:sldMkLst>
      </pc:sldChg>
      <pc:sldChg chg="del">
        <pc:chgData name="Meyer Raphael (PAR-ES)" userId="79615dfe-ed48-4e74-a40f-4f7b034c1c27" providerId="ADAL" clId="{20CDF186-CBE6-4933-86DD-8AB20520AB06}" dt="2022-02-21T10:41:47.142" v="1" actId="47"/>
        <pc:sldMkLst>
          <pc:docMk/>
          <pc:sldMk cId="2641487227" sldId="271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332483854" sldId="274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04404663" sldId="27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522703358" sldId="27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592423876" sldId="27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84604335" sldId="27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1819982200" sldId="279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176483372" sldId="316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2505455628" sldId="394"/>
        </pc:sldMkLst>
      </pc:sldChg>
      <pc:sldChg chg="del">
        <pc:chgData name="Meyer Raphael (PAR-ES)" userId="79615dfe-ed48-4e74-a40f-4f7b034c1c27" providerId="ADAL" clId="{20CDF186-CBE6-4933-86DD-8AB20520AB06}" dt="2022-02-21T10:41:51.798" v="2" actId="47"/>
        <pc:sldMkLst>
          <pc:docMk/>
          <pc:sldMk cId="78844114" sldId="395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3931044038" sldId="396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825719232" sldId="397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131180641" sldId="398"/>
        </pc:sldMkLst>
      </pc:sldChg>
      <pc:sldChg chg="del">
        <pc:chgData name="Meyer Raphael (PAR-ES)" userId="79615dfe-ed48-4e74-a40f-4f7b034c1c27" providerId="ADAL" clId="{20CDF186-CBE6-4933-86DD-8AB20520AB06}" dt="2022-02-21T10:41:43.953" v="0" actId="47"/>
        <pc:sldMkLst>
          <pc:docMk/>
          <pc:sldMk cId="2338066774" sldId="399"/>
        </pc:sldMkLst>
      </pc:sldChg>
      <pc:sldChg chg="addSp modSp mod">
        <pc:chgData name="Meyer Raphael (PAR-ES)" userId="79615dfe-ed48-4e74-a40f-4f7b034c1c27" providerId="ADAL" clId="{20CDF186-CBE6-4933-86DD-8AB20520AB06}" dt="2022-02-21T10:55:13.495" v="246" actId="20577"/>
        <pc:sldMkLst>
          <pc:docMk/>
          <pc:sldMk cId="57003221" sldId="400"/>
        </pc:sldMkLst>
        <pc:spChg chg="add mod">
          <ac:chgData name="Meyer Raphael (PAR-ES)" userId="79615dfe-ed48-4e74-a40f-4f7b034c1c27" providerId="ADAL" clId="{20CDF186-CBE6-4933-86DD-8AB20520AB06}" dt="2022-02-21T10:50:49.704" v="227"/>
          <ac:spMkLst>
            <pc:docMk/>
            <pc:sldMk cId="57003221" sldId="400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13.495" v="246" actId="20577"/>
          <ac:spMkLst>
            <pc:docMk/>
            <pc:sldMk cId="57003221" sldId="400"/>
            <ac:spMk id="10" creationId="{A424E1BC-05C2-425D-871B-AFDD25022AB3}"/>
          </ac:spMkLst>
        </pc:spChg>
      </pc:sldChg>
      <pc:sldChg chg="addSp modSp add mod ord">
        <pc:chgData name="Meyer Raphael (PAR-ES)" userId="79615dfe-ed48-4e74-a40f-4f7b034c1c27" providerId="ADAL" clId="{20CDF186-CBE6-4933-86DD-8AB20520AB06}" dt="2022-02-21T10:56:45.336" v="267"/>
        <pc:sldMkLst>
          <pc:docMk/>
          <pc:sldMk cId="2346713788" sldId="401"/>
        </pc:sldMkLst>
        <pc:spChg chg="add mod">
          <ac:chgData name="Meyer Raphael (PAR-ES)" userId="79615dfe-ed48-4e74-a40f-4f7b034c1c27" providerId="ADAL" clId="{20CDF186-CBE6-4933-86DD-8AB20520AB06}" dt="2022-02-21T10:49:07.742" v="226" actId="688"/>
          <ac:spMkLst>
            <pc:docMk/>
            <pc:sldMk cId="2346713788" sldId="401"/>
            <ac:spMk id="5" creationId="{9603D10F-F389-45C8-98C2-576ECB924008}"/>
          </ac:spMkLst>
        </pc:spChg>
        <pc:spChg chg="mod">
          <ac:chgData name="Meyer Raphael (PAR-ES)" userId="79615dfe-ed48-4e74-a40f-4f7b034c1c27" providerId="ADAL" clId="{20CDF186-CBE6-4933-86DD-8AB20520AB06}" dt="2022-02-21T10:55:08.405" v="242" actId="20577"/>
          <ac:spMkLst>
            <pc:docMk/>
            <pc:sldMk cId="2346713788" sldId="401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3:23.639" v="233"/>
          <ac:graphicFrameMkLst>
            <pc:docMk/>
            <pc:sldMk cId="2346713788" sldId="401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45.336" v="267"/>
          <ac:graphicFrameMkLst>
            <pc:docMk/>
            <pc:sldMk cId="2346713788" sldId="401"/>
            <ac:graphicFrameMk id="9" creationId="{CB25D658-4CAC-4D7D-8D2D-42B74A2C2DC7}"/>
          </ac:graphicFrameMkLst>
        </pc:graphicFrameChg>
      </pc:sldChg>
      <pc:sldChg chg="modSp add mod">
        <pc:chgData name="Meyer Raphael (PAR-ES)" userId="79615dfe-ed48-4e74-a40f-4f7b034c1c27" providerId="ADAL" clId="{20CDF186-CBE6-4933-86DD-8AB20520AB06}" dt="2022-02-21T10:56:31.545" v="266"/>
        <pc:sldMkLst>
          <pc:docMk/>
          <pc:sldMk cId="1838343115" sldId="402"/>
        </pc:sldMkLst>
        <pc:spChg chg="mod">
          <ac:chgData name="Meyer Raphael (PAR-ES)" userId="79615dfe-ed48-4e74-a40f-4f7b034c1c27" providerId="ADAL" clId="{20CDF186-CBE6-4933-86DD-8AB20520AB06}" dt="2022-02-21T10:55:24.859" v="252" actId="20577"/>
          <ac:spMkLst>
            <pc:docMk/>
            <pc:sldMk cId="1838343115" sldId="402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5:03.691" v="240" actId="20577"/>
          <ac:spMkLst>
            <pc:docMk/>
            <pc:sldMk cId="1838343115" sldId="402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6:14.051" v="263"/>
          <ac:graphicFrameMkLst>
            <pc:docMk/>
            <pc:sldMk cId="1838343115" sldId="402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6:31.545" v="266"/>
          <ac:graphicFrameMkLst>
            <pc:docMk/>
            <pc:sldMk cId="1838343115" sldId="402"/>
            <ac:graphicFrameMk id="9" creationId="{CB25D658-4CAC-4D7D-8D2D-42B74A2C2DC7}"/>
          </ac:graphicFrameMkLst>
        </pc:graphicFrameChg>
      </pc:sldChg>
      <pc:sldChg chg="add del">
        <pc:chgData name="Meyer Raphael (PAR-ES)" userId="79615dfe-ed48-4e74-a40f-4f7b034c1c27" providerId="ADAL" clId="{20CDF186-CBE6-4933-86DD-8AB20520AB06}" dt="2022-02-21T10:50:58.515" v="228" actId="47"/>
        <pc:sldMkLst>
          <pc:docMk/>
          <pc:sldMk cId="4203787655" sldId="402"/>
        </pc:sldMkLst>
      </pc:sldChg>
      <pc:sldChg chg="add del">
        <pc:chgData name="Meyer Raphael (PAR-ES)" userId="79615dfe-ed48-4e74-a40f-4f7b034c1c27" providerId="ADAL" clId="{20CDF186-CBE6-4933-86DD-8AB20520AB06}" dt="2022-02-21T10:50:59.912" v="229" actId="47"/>
        <pc:sldMkLst>
          <pc:docMk/>
          <pc:sldMk cId="2022964754" sldId="403"/>
        </pc:sldMkLst>
      </pc:sldChg>
      <pc:sldChg chg="modSp add mod">
        <pc:chgData name="Meyer Raphael (PAR-ES)" userId="79615dfe-ed48-4e74-a40f-4f7b034c1c27" providerId="ADAL" clId="{20CDF186-CBE6-4933-86DD-8AB20520AB06}" dt="2022-02-21T10:58:55.846" v="289"/>
        <pc:sldMkLst>
          <pc:docMk/>
          <pc:sldMk cId="3015962495" sldId="403"/>
        </pc:sldMkLst>
        <pc:spChg chg="mod">
          <ac:chgData name="Meyer Raphael (PAR-ES)" userId="79615dfe-ed48-4e74-a40f-4f7b034c1c27" providerId="ADAL" clId="{20CDF186-CBE6-4933-86DD-8AB20520AB06}" dt="2022-02-21T10:57:57.696" v="276" actId="20577"/>
          <ac:spMkLst>
            <pc:docMk/>
            <pc:sldMk cId="3015962495" sldId="403"/>
            <ac:spMk id="5" creationId="{92A937B8-76F1-40F4-B147-42962D317536}"/>
          </ac:spMkLst>
        </pc:spChg>
        <pc:spChg chg="mod">
          <ac:chgData name="Meyer Raphael (PAR-ES)" userId="79615dfe-ed48-4e74-a40f-4f7b034c1c27" providerId="ADAL" clId="{20CDF186-CBE6-4933-86DD-8AB20520AB06}" dt="2022-02-21T10:57:49.478" v="270" actId="20577"/>
          <ac:spMkLst>
            <pc:docMk/>
            <pc:sldMk cId="3015962495" sldId="403"/>
            <ac:spMk id="10" creationId="{A424E1BC-05C2-425D-871B-AFDD25022AB3}"/>
          </ac:spMkLst>
        </pc:spChg>
        <pc:graphicFrameChg chg="mod">
          <ac:chgData name="Meyer Raphael (PAR-ES)" userId="79615dfe-ed48-4e74-a40f-4f7b034c1c27" providerId="ADAL" clId="{20CDF186-CBE6-4933-86DD-8AB20520AB06}" dt="2022-02-21T10:58:40.123" v="285"/>
          <ac:graphicFrameMkLst>
            <pc:docMk/>
            <pc:sldMk cId="3015962495" sldId="403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20CDF186-CBE6-4933-86DD-8AB20520AB06}" dt="2022-02-21T10:58:55.846" v="289"/>
          <ac:graphicFrameMkLst>
            <pc:docMk/>
            <pc:sldMk cId="3015962495" sldId="403"/>
            <ac:graphicFrameMk id="9" creationId="{CB25D658-4CAC-4D7D-8D2D-42B74A2C2DC7}"/>
          </ac:graphicFrameMkLst>
        </pc:graphicFrameChg>
      </pc:sldChg>
      <pc:sldMasterChg chg="delSldLayout">
        <pc:chgData name="Meyer Raphael (PAR-ES)" userId="79615dfe-ed48-4e74-a40f-4f7b034c1c27" providerId="ADAL" clId="{20CDF186-CBE6-4933-86DD-8AB20520AB06}" dt="2022-02-21T10:41:51.798" v="2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20CDF186-CBE6-4933-86DD-8AB20520AB06}" dt="2022-02-21T10:41:51.798" v="2" actId="47"/>
          <pc:sldLayoutMkLst>
            <pc:docMk/>
            <pc:sldMasterMk cId="247366169" sldId="2147483712"/>
            <pc:sldLayoutMk cId="3770387148" sldId="2147483748"/>
          </pc:sldLayoutMkLst>
        </pc:sldLayoutChg>
      </pc:sldMasterChg>
    </pc:docChg>
  </pc:docChgLst>
  <pc:docChgLst>
    <pc:chgData name="Meyer Raphael (PAR-ES)" userId="79615dfe-ed48-4e74-a40f-4f7b034c1c27" providerId="ADAL" clId="{9A7A89A4-F952-48D4-B14D-BB0B488F8908}"/>
    <pc:docChg chg="addSld modSld sldOrd">
      <pc:chgData name="Meyer Raphael (PAR-ES)" userId="79615dfe-ed48-4e74-a40f-4f7b034c1c27" providerId="ADAL" clId="{9A7A89A4-F952-48D4-B14D-BB0B488F8908}" dt="2021-02-02T13:52:51.990" v="64" actId="1076"/>
      <pc:docMkLst>
        <pc:docMk/>
      </pc:docMkLst>
      <pc:sldChg chg="modSp add mod ord">
        <pc:chgData name="Meyer Raphael (PAR-ES)" userId="79615dfe-ed48-4e74-a40f-4f7b034c1c27" providerId="ADAL" clId="{9A7A89A4-F952-48D4-B14D-BB0B488F8908}" dt="2021-02-02T13:52:51.990" v="64" actId="1076"/>
        <pc:sldMkLst>
          <pc:docMk/>
          <pc:sldMk cId="277025245" sldId="325"/>
        </pc:sldMkLst>
        <pc:spChg chg="mod">
          <ac:chgData name="Meyer Raphael (PAR-ES)" userId="79615dfe-ed48-4e74-a40f-4f7b034c1c27" providerId="ADAL" clId="{9A7A89A4-F952-48D4-B14D-BB0B488F8908}" dt="2021-02-02T13:43:36.763" v="57" actId="20577"/>
          <ac:spMkLst>
            <pc:docMk/>
            <pc:sldMk cId="277025245" sldId="325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A7A89A4-F952-48D4-B14D-BB0B488F8908}" dt="2021-02-02T13:42:00.468" v="19" actId="1076"/>
          <ac:spMkLst>
            <pc:docMk/>
            <pc:sldMk cId="277025245" sldId="32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A7A89A4-F952-48D4-B14D-BB0B488F8908}" dt="2021-02-02T13:52:51.990" v="64" actId="1076"/>
          <ac:spMkLst>
            <pc:docMk/>
            <pc:sldMk cId="277025245" sldId="325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A7A89A4-F952-48D4-B14D-BB0B488F8908}" dt="2021-02-02T13:46:24.028" v="63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</pc:docChg>
  </pc:docChgLst>
  <pc:docChgLst>
    <pc:chgData name="Meyer Raphael (PAR-ES)" userId="79615dfe-ed48-4e74-a40f-4f7b034c1c27" providerId="ADAL" clId="{8ED4C5ED-7DA1-4D25-AE40-43BBDDBEAFEC}"/>
    <pc:docChg chg="custSel addSld delSld modSld sldOrd">
      <pc:chgData name="Meyer Raphael (PAR-ES)" userId="79615dfe-ed48-4e74-a40f-4f7b034c1c27" providerId="ADAL" clId="{8ED4C5ED-7DA1-4D25-AE40-43BBDDBEAFEC}" dt="2021-03-04T08:12:15.835" v="109"/>
      <pc:docMkLst>
        <pc:docMk/>
      </pc:docMkLst>
      <pc:sldChg chg="modSp mod">
        <pc:chgData name="Meyer Raphael (PAR-ES)" userId="79615dfe-ed48-4e74-a40f-4f7b034c1c27" providerId="ADAL" clId="{8ED4C5ED-7DA1-4D25-AE40-43BBDDBEAFEC}" dt="2021-03-04T08:11:56.176" v="105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D4C5ED-7DA1-4D25-AE40-43BBDDBEAFEC}" dt="2021-03-04T08:05:50.343" v="73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D4C5ED-7DA1-4D25-AE40-43BBDDBEAFEC}" dt="2021-03-04T07:58:43.994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D4C5ED-7DA1-4D25-AE40-43BBDDBEAFEC}" dt="2021-03-04T08:11:56.176" v="10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D4C5ED-7DA1-4D25-AE40-43BBDDBEAFEC}" dt="2021-03-04T07:58:59.544" v="17" actId="20577"/>
          <ac:spMkLst>
            <pc:docMk/>
            <pc:sldMk cId="1667945532" sldId="306"/>
            <ac:spMk id="31" creationId="{7491A47D-CAD4-478D-8F3A-296FFCB799F9}"/>
          </ac:spMkLst>
        </pc:spChg>
        <pc:cxnChg chg="mod">
          <ac:chgData name="Meyer Raphael (PAR-ES)" userId="79615dfe-ed48-4e74-a40f-4f7b034c1c27" providerId="ADAL" clId="{8ED4C5ED-7DA1-4D25-AE40-43BBDDBEAFEC}" dt="2021-03-04T08:05:36.734" v="71" actId="1076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del ord">
        <pc:chgData name="Meyer Raphael (PAR-ES)" userId="79615dfe-ed48-4e74-a40f-4f7b034c1c27" providerId="ADAL" clId="{8ED4C5ED-7DA1-4D25-AE40-43BBDDBEAFEC}" dt="2021-03-04T08:09:58.474" v="93" actId="2696"/>
        <pc:sldMkLst>
          <pc:docMk/>
          <pc:sldMk cId="423704220" sldId="332"/>
        </pc:sldMkLst>
      </pc:sldChg>
      <pc:sldChg chg="modSp del ord">
        <pc:chgData name="Meyer Raphael (PAR-ES)" userId="79615dfe-ed48-4e74-a40f-4f7b034c1c27" providerId="ADAL" clId="{8ED4C5ED-7DA1-4D25-AE40-43BBDDBEAFEC}" dt="2021-03-04T08:11:30.113" v="104" actId="2696"/>
        <pc:sldMkLst>
          <pc:docMk/>
          <pc:sldMk cId="3676330928" sldId="333"/>
        </pc:sldMkLst>
        <pc:spChg chg="mod">
          <ac:chgData name="Meyer Raphael (PAR-ES)" userId="79615dfe-ed48-4e74-a40f-4f7b034c1c27" providerId="ADAL" clId="{8ED4C5ED-7DA1-4D25-AE40-43BBDDBEAFEC}" dt="2021-03-04T08:11:01.674" v="102"/>
          <ac:spMkLst>
            <pc:docMk/>
            <pc:sldMk cId="3676330928" sldId="333"/>
            <ac:spMk id="10" creationId="{077DFD58-E5EE-4B68-9325-D935DB04DD40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4.834" v="108"/>
        <pc:sldMkLst>
          <pc:docMk/>
          <pc:sldMk cId="1837760195" sldId="334"/>
        </pc:sldMkLst>
        <pc:spChg chg="mod">
          <ac:chgData name="Meyer Raphael (PAR-ES)" userId="79615dfe-ed48-4e74-a40f-4f7b034c1c27" providerId="ADAL" clId="{8ED4C5ED-7DA1-4D25-AE40-43BBDDBEAFEC}" dt="2021-03-04T08:07:09.276" v="82"/>
          <ac:spMkLst>
            <pc:docMk/>
            <pc:sldMk cId="1837760195" sldId="33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06:59.291" v="81" actId="14100"/>
          <ac:spMkLst>
            <pc:docMk/>
            <pc:sldMk cId="1837760195" sldId="33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07:17.599" v="83"/>
          <ac:spMkLst>
            <pc:docMk/>
            <pc:sldMk cId="1837760195" sldId="33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23" creationId="{F8081A8E-3C16-4BC1-8843-5B0CDB9D1B73}"/>
          </ac:spMkLst>
        </pc:spChg>
        <pc:spChg chg="del">
          <ac:chgData name="Meyer Raphael (PAR-ES)" userId="79615dfe-ed48-4e74-a40f-4f7b034c1c27" providerId="ADAL" clId="{8ED4C5ED-7DA1-4D25-AE40-43BBDDBEAFEC}" dt="2021-03-04T08:06:36.468" v="78" actId="478"/>
          <ac:spMkLst>
            <pc:docMk/>
            <pc:sldMk cId="1837760195" sldId="33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07:33.244" v="84"/>
          <ac:spMkLst>
            <pc:docMk/>
            <pc:sldMk cId="1837760195" sldId="33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3.812" v="106" actId="478"/>
          <ac:spMkLst>
            <pc:docMk/>
            <pc:sldMk cId="1837760195" sldId="334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3" creationId="{436FA842-59C5-482D-A389-D046FA0A1045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6" creationId="{F84D2091-F2C6-4CFF-95B5-76F1378F3767}"/>
          </ac:spMkLst>
        </pc:spChg>
        <pc:spChg chg="add">
          <ac:chgData name="Meyer Raphael (PAR-ES)" userId="79615dfe-ed48-4e74-a40f-4f7b034c1c27" providerId="ADAL" clId="{8ED4C5ED-7DA1-4D25-AE40-43BBDDBEAFEC}" dt="2021-03-04T08:06:48.938" v="79"/>
          <ac:spMkLst>
            <pc:docMk/>
            <pc:sldMk cId="1837760195" sldId="334"/>
            <ac:spMk id="37" creationId="{E30A101F-8A88-4198-BB82-EA8E9B372A50}"/>
          </ac:spMkLst>
        </pc:spChg>
        <pc:spChg chg="add">
          <ac:chgData name="Meyer Raphael (PAR-ES)" userId="79615dfe-ed48-4e74-a40f-4f7b034c1c27" providerId="ADAL" clId="{8ED4C5ED-7DA1-4D25-AE40-43BBDDBEAFEC}" dt="2021-03-04T08:12:14.834" v="108"/>
          <ac:spMkLst>
            <pc:docMk/>
            <pc:sldMk cId="1837760195" sldId="334"/>
            <ac:spMk id="38" creationId="{39CB4F53-3602-46FA-981C-A72F1EA9BD8C}"/>
          </ac:spMkLst>
        </pc:spChg>
      </pc:sldChg>
      <pc:sldChg chg="addSp delSp modSp add">
        <pc:chgData name="Meyer Raphael (PAR-ES)" userId="79615dfe-ed48-4e74-a40f-4f7b034c1c27" providerId="ADAL" clId="{8ED4C5ED-7DA1-4D25-AE40-43BBDDBEAFEC}" dt="2021-03-04T08:12:15.835" v="109"/>
        <pc:sldMkLst>
          <pc:docMk/>
          <pc:sldMk cId="3853260059" sldId="335"/>
        </pc:sldMkLst>
        <pc:spChg chg="mod">
          <ac:chgData name="Meyer Raphael (PAR-ES)" userId="79615dfe-ed48-4e74-a40f-4f7b034c1c27" providerId="ADAL" clId="{8ED4C5ED-7DA1-4D25-AE40-43BBDDBEAFEC}" dt="2021-03-04T08:10:54.390" v="100"/>
          <ac:spMkLst>
            <pc:docMk/>
            <pc:sldMk cId="3853260059" sldId="33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D4C5ED-7DA1-4D25-AE40-43BBDDBEAFEC}" dt="2021-03-04T08:10:33.336" v="97" actId="14100"/>
          <ac:spMkLst>
            <pc:docMk/>
            <pc:sldMk cId="3853260059" sldId="33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D4C5ED-7DA1-4D25-AE40-43BBDDBEAFEC}" dt="2021-03-04T08:11:07.099" v="103"/>
          <ac:spMkLst>
            <pc:docMk/>
            <pc:sldMk cId="3853260059" sldId="33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23" creationId="{A4173DE9-6EBB-4D06-AAA6-5A45C16B73F2}"/>
          </ac:spMkLst>
        </pc:spChg>
        <pc:spChg chg="del">
          <ac:chgData name="Meyer Raphael (PAR-ES)" userId="79615dfe-ed48-4e74-a40f-4f7b034c1c27" providerId="ADAL" clId="{8ED4C5ED-7DA1-4D25-AE40-43BBDDBEAFEC}" dt="2021-03-04T08:10:11.352" v="94" actId="478"/>
          <ac:spMkLst>
            <pc:docMk/>
            <pc:sldMk cId="3853260059" sldId="33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D4C5ED-7DA1-4D25-AE40-43BBDDBEAFEC}" dt="2021-03-04T08:10:46.068" v="99" actId="14100"/>
          <ac:spMkLst>
            <pc:docMk/>
            <pc:sldMk cId="3853260059" sldId="335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8ED4C5ED-7DA1-4D25-AE40-43BBDDBEAFEC}" dt="2021-03-04T08:12:08.515" v="107" actId="478"/>
          <ac:spMkLst>
            <pc:docMk/>
            <pc:sldMk cId="3853260059" sldId="335"/>
            <ac:spMk id="28" creationId="{4492A3CD-6943-423D-BFEC-8129889E8B6F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3" creationId="{3BE11088-D503-45DA-A54D-9D835AFB481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6" creationId="{67CAA1D9-CB4A-4B7E-A980-96001E439725}"/>
          </ac:spMkLst>
        </pc:spChg>
        <pc:spChg chg="add">
          <ac:chgData name="Meyer Raphael (PAR-ES)" userId="79615dfe-ed48-4e74-a40f-4f7b034c1c27" providerId="ADAL" clId="{8ED4C5ED-7DA1-4D25-AE40-43BBDDBEAFEC}" dt="2021-03-04T08:10:22.766" v="95"/>
          <ac:spMkLst>
            <pc:docMk/>
            <pc:sldMk cId="3853260059" sldId="335"/>
            <ac:spMk id="37" creationId="{32662B2A-43CD-4B8D-95E7-5719F102752C}"/>
          </ac:spMkLst>
        </pc:spChg>
        <pc:spChg chg="add">
          <ac:chgData name="Meyer Raphael (PAR-ES)" userId="79615dfe-ed48-4e74-a40f-4f7b034c1c27" providerId="ADAL" clId="{8ED4C5ED-7DA1-4D25-AE40-43BBDDBEAFEC}" dt="2021-03-04T08:12:15.835" v="109"/>
          <ac:spMkLst>
            <pc:docMk/>
            <pc:sldMk cId="3853260059" sldId="335"/>
            <ac:spMk id="38" creationId="{C560343E-7E57-4F56-A2F7-BC158B546710}"/>
          </ac:spMkLst>
        </pc:spChg>
      </pc:sldChg>
    </pc:docChg>
  </pc:docChgLst>
  <pc:docChgLst>
    <pc:chgData name="Meyer Raphael (PAR-ES)" userId="79615dfe-ed48-4e74-a40f-4f7b034c1c27" providerId="ADAL" clId="{3377B460-AD2F-4DD0-B2F3-A223CE4BFD59}"/>
    <pc:docChg chg="custSel addSld modSld">
      <pc:chgData name="Meyer Raphael (PAR-ES)" userId="79615dfe-ed48-4e74-a40f-4f7b034c1c27" providerId="ADAL" clId="{3377B460-AD2F-4DD0-B2F3-A223CE4BFD59}" dt="2022-01-17T12:46:49.191" v="28" actId="20577"/>
      <pc:docMkLst>
        <pc:docMk/>
      </pc:docMkLst>
      <pc:sldChg chg="addSp delSp modSp add mod">
        <pc:chgData name="Meyer Raphael (PAR-ES)" userId="79615dfe-ed48-4e74-a40f-4f7b034c1c27" providerId="ADAL" clId="{3377B460-AD2F-4DD0-B2F3-A223CE4BFD59}" dt="2022-01-17T12:46:49.191" v="28" actId="20577"/>
        <pc:sldMkLst>
          <pc:docMk/>
          <pc:sldMk cId="2338066774" sldId="399"/>
        </pc:sldMkLst>
        <pc:spChg chg="mod">
          <ac:chgData name="Meyer Raphael (PAR-ES)" userId="79615dfe-ed48-4e74-a40f-4f7b034c1c27" providerId="ADAL" clId="{3377B460-AD2F-4DD0-B2F3-A223CE4BFD59}" dt="2022-01-17T12:46:49.191" v="28" actId="20577"/>
          <ac:spMkLst>
            <pc:docMk/>
            <pc:sldMk cId="2338066774" sldId="39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3377B460-AD2F-4DD0-B2F3-A223CE4BFD59}" dt="2022-01-17T12:38:30.988" v="6" actId="20577"/>
          <ac:spMkLst>
            <pc:docMk/>
            <pc:sldMk cId="2338066774" sldId="399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3377B460-AD2F-4DD0-B2F3-A223CE4BFD59}" dt="2022-01-17T12:42:58.172" v="20" actId="14100"/>
          <ac:graphicFrameMkLst>
            <pc:docMk/>
            <pc:sldMk cId="2338066774" sldId="399"/>
            <ac:graphicFrameMk id="6" creationId="{67E5BF1A-DCFF-4431-8721-9C385B8E6F53}"/>
          </ac:graphicFrameMkLst>
        </pc:graphicFrameChg>
        <pc:graphicFrameChg chg="del">
          <ac:chgData name="Meyer Raphael (PAR-ES)" userId="79615dfe-ed48-4e74-a40f-4f7b034c1c27" providerId="ADAL" clId="{3377B460-AD2F-4DD0-B2F3-A223CE4BFD59}" dt="2022-01-17T12:37:49.391" v="1" actId="478"/>
          <ac:graphicFrameMkLst>
            <pc:docMk/>
            <pc:sldMk cId="2338066774" sldId="399"/>
            <ac:graphicFrameMk id="8" creationId="{6973129B-3766-41C3-BD0F-FBF7F523AB4F}"/>
          </ac:graphicFrameMkLst>
        </pc:graphicFrameChg>
      </pc:sldChg>
    </pc:docChg>
  </pc:docChgLst>
  <pc:docChgLst>
    <pc:chgData name="Meyer Raphael (PAR-ES)" userId="79615dfe-ed48-4e74-a40f-4f7b034c1c27" providerId="ADAL" clId="{EE4B723A-9766-4E02-AF64-B4A3F3A783ED}"/>
    <pc:docChg chg="delSld modSld sldOrd">
      <pc:chgData name="Meyer Raphael (PAR-ES)" userId="79615dfe-ed48-4e74-a40f-4f7b034c1c27" providerId="ADAL" clId="{EE4B723A-9766-4E02-AF64-B4A3F3A783ED}" dt="2021-10-18T07:56:07.780" v="25" actId="47"/>
      <pc:docMkLst>
        <pc:docMk/>
      </pc:docMkLst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1495152177" sldId="298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3590012689" sldId="365"/>
        </pc:sldMkLst>
      </pc:sldChg>
      <pc:sldChg chg="del">
        <pc:chgData name="Meyer Raphael (PAR-ES)" userId="79615dfe-ed48-4e74-a40f-4f7b034c1c27" providerId="ADAL" clId="{EE4B723A-9766-4E02-AF64-B4A3F3A783ED}" dt="2021-10-18T07:56:07.780" v="25" actId="47"/>
        <pc:sldMkLst>
          <pc:docMk/>
          <pc:sldMk cId="689864941" sldId="366"/>
        </pc:sldMkLst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2343299233" sldId="374"/>
        </pc:sldMkLst>
        <pc:graphicFrameChg chg="modGraphic">
          <ac:chgData name="Meyer Raphael (PAR-ES)" userId="79615dfe-ed48-4e74-a40f-4f7b034c1c27" providerId="ADAL" clId="{EE4B723A-9766-4E02-AF64-B4A3F3A783ED}" dt="2021-10-18T07:50:21.584" v="7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759573184" sldId="375"/>
        </pc:sldMkLst>
        <pc:graphicFrameChg chg="mod">
          <ac:chgData name="Meyer Raphael (PAR-ES)" userId="79615dfe-ed48-4e74-a40f-4f7b034c1c27" providerId="ADAL" clId="{EE4B723A-9766-4E02-AF64-B4A3F3A783ED}" dt="2021-10-18T07:53:22.666" v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E4B723A-9766-4E02-AF64-B4A3F3A783ED}" dt="2021-10-18T07:56:02.863" v="24"/>
        <pc:sldMkLst>
          <pc:docMk/>
          <pc:sldMk cId="3027727826" sldId="376"/>
        </pc:sldMkLst>
        <pc:graphicFrameChg chg="mod">
          <ac:chgData name="Meyer Raphael (PAR-ES)" userId="79615dfe-ed48-4e74-a40f-4f7b034c1c27" providerId="ADAL" clId="{EE4B723A-9766-4E02-AF64-B4A3F3A783ED}" dt="2021-10-18T07:53:27.274" v="22"/>
          <ac:graphicFrameMkLst>
            <pc:docMk/>
            <pc:sldMk cId="3027727826" sldId="37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6AE727E4-6F43-44DC-80B3-36DB1D4310CD}"/>
    <pc:docChg chg="custSel addSld delSld modSld">
      <pc:chgData name="Meyer Raphael (PAR-ES)" userId="79615dfe-ed48-4e74-a40f-4f7b034c1c27" providerId="ADAL" clId="{6AE727E4-6F43-44DC-80B3-36DB1D4310CD}" dt="2022-03-03T13:44:37.218" v="37" actId="2890"/>
      <pc:docMkLst>
        <pc:docMk/>
      </pc:docMkLst>
      <pc:sldChg chg="addSp delSp modSp mod">
        <pc:chgData name="Meyer Raphael (PAR-ES)" userId="79615dfe-ed48-4e74-a40f-4f7b034c1c27" providerId="ADAL" clId="{6AE727E4-6F43-44DC-80B3-36DB1D4310CD}" dt="2022-03-03T13:43:39.923" v="33" actId="692"/>
        <pc:sldMkLst>
          <pc:docMk/>
          <pc:sldMk cId="3808035539" sldId="270"/>
        </pc:sldMkLst>
        <pc:spChg chg="del">
          <ac:chgData name="Meyer Raphael (PAR-ES)" userId="79615dfe-ed48-4e74-a40f-4f7b034c1c27" providerId="ADAL" clId="{6AE727E4-6F43-44DC-80B3-36DB1D4310CD}" dt="2022-03-03T13:37:54.951" v="8" actId="478"/>
          <ac:spMkLst>
            <pc:docMk/>
            <pc:sldMk cId="3808035539" sldId="270"/>
            <ac:spMk id="3" creationId="{00000000-0000-0000-0000-000000000000}"/>
          </ac:spMkLst>
        </pc:spChg>
        <pc:spChg chg="del">
          <ac:chgData name="Meyer Raphael (PAR-ES)" userId="79615dfe-ed48-4e74-a40f-4f7b034c1c27" providerId="ADAL" clId="{6AE727E4-6F43-44DC-80B3-36DB1D4310CD}" dt="2022-03-03T13:37:52.046" v="7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Meyer Raphael (PAR-ES)" userId="79615dfe-ed48-4e74-a40f-4f7b034c1c27" providerId="ADAL" clId="{6AE727E4-6F43-44DC-80B3-36DB1D4310CD}" dt="2022-03-03T13:36:54.987" v="2"/>
          <ac:spMkLst>
            <pc:docMk/>
            <pc:sldMk cId="3808035539" sldId="270"/>
            <ac:spMk id="11" creationId="{C872468D-648C-44F5-8DF7-75B41720E3E9}"/>
          </ac:spMkLst>
        </pc:spChg>
        <pc:spChg chg="add mod">
          <ac:chgData name="Meyer Raphael (PAR-ES)" userId="79615dfe-ed48-4e74-a40f-4f7b034c1c27" providerId="ADAL" clId="{6AE727E4-6F43-44DC-80B3-36DB1D4310CD}" dt="2022-03-03T13:37:39.851" v="6" actId="20577"/>
          <ac:spMkLst>
            <pc:docMk/>
            <pc:sldMk cId="3808035539" sldId="270"/>
            <ac:spMk id="12" creationId="{5951AA1F-1F78-4199-A377-9885C86C21AF}"/>
          </ac:spMkLst>
        </pc:spChg>
        <pc:spChg chg="add mod">
          <ac:chgData name="Meyer Raphael (PAR-ES)" userId="79615dfe-ed48-4e74-a40f-4f7b034c1c27" providerId="ADAL" clId="{6AE727E4-6F43-44DC-80B3-36DB1D4310CD}" dt="2022-03-03T13:39:32.361" v="1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Meyer Raphael (PAR-ES)" userId="79615dfe-ed48-4e74-a40f-4f7b034c1c27" providerId="ADAL" clId="{6AE727E4-6F43-44DC-80B3-36DB1D4310CD}" dt="2022-03-03T13:43:39.923" v="33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del">
          <ac:chgData name="Meyer Raphael (PAR-ES)" userId="79615dfe-ed48-4e74-a40f-4f7b034c1c27" providerId="ADAL" clId="{6AE727E4-6F43-44DC-80B3-36DB1D4310CD}" dt="2022-03-03T13:39:44.942" v="16" actId="478"/>
          <ac:cxnSpMkLst>
            <pc:docMk/>
            <pc:sldMk cId="3808035539" sldId="270"/>
            <ac:cxnSpMk id="6" creationId="{00000000-0000-0000-0000-000000000000}"/>
          </ac:cxnSpMkLst>
        </pc:cxnChg>
        <pc:cxnChg chg="del">
          <ac:chgData name="Meyer Raphael (PAR-ES)" userId="79615dfe-ed48-4e74-a40f-4f7b034c1c27" providerId="ADAL" clId="{6AE727E4-6F43-44DC-80B3-36DB1D4310CD}" dt="2022-03-03T13:40:44.423" v="28" actId="478"/>
          <ac:cxnSpMkLst>
            <pc:docMk/>
            <pc:sldMk cId="3808035539" sldId="270"/>
            <ac:cxnSpMk id="8" creationId="{11B600A0-14BD-4B20-9F81-BA2BC862A1DB}"/>
          </ac:cxnSpMkLst>
        </pc:cxnChg>
      </pc:sldChg>
      <pc:sldChg chg="add">
        <pc:chgData name="Meyer Raphael (PAR-ES)" userId="79615dfe-ed48-4e74-a40f-4f7b034c1c27" providerId="ADAL" clId="{6AE727E4-6F43-44DC-80B3-36DB1D4310CD}" dt="2022-03-03T13:44:34.313" v="35" actId="2890"/>
        <pc:sldMkLst>
          <pc:docMk/>
          <pc:sldMk cId="421447817" sldId="271"/>
        </pc:sldMkLst>
      </pc:sldChg>
      <pc:sldChg chg="add">
        <pc:chgData name="Meyer Raphael (PAR-ES)" userId="79615dfe-ed48-4e74-a40f-4f7b034c1c27" providerId="ADAL" clId="{6AE727E4-6F43-44DC-80B3-36DB1D4310CD}" dt="2022-03-03T13:44:36.416" v="36" actId="2890"/>
        <pc:sldMkLst>
          <pc:docMk/>
          <pc:sldMk cId="1823063743" sldId="272"/>
        </pc:sldMkLst>
      </pc:sldChg>
      <pc:sldChg chg="add">
        <pc:chgData name="Meyer Raphael (PAR-ES)" userId="79615dfe-ed48-4e74-a40f-4f7b034c1c27" providerId="ADAL" clId="{6AE727E4-6F43-44DC-80B3-36DB1D4310CD}" dt="2022-03-03T13:44:37.218" v="37" actId="2890"/>
        <pc:sldMkLst>
          <pc:docMk/>
          <pc:sldMk cId="3044751883" sldId="273"/>
        </pc:sldMkLst>
      </pc:sldChg>
      <pc:sldChg chg="del">
        <pc:chgData name="Meyer Raphael (PAR-ES)" userId="79615dfe-ed48-4e74-a40f-4f7b034c1c27" providerId="ADAL" clId="{6AE727E4-6F43-44DC-80B3-36DB1D4310CD}" dt="2022-03-03T13:44:22.569" v="34" actId="47"/>
        <pc:sldMkLst>
          <pc:docMk/>
          <pc:sldMk cId="1708932620" sldId="407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1116898475" sldId="408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3294247987" sldId="409"/>
        </pc:sldMkLst>
      </pc:sldChg>
      <pc:sldChg chg="del">
        <pc:chgData name="Meyer Raphael (PAR-ES)" userId="79615dfe-ed48-4e74-a40f-4f7b034c1c27" providerId="ADAL" clId="{6AE727E4-6F43-44DC-80B3-36DB1D4310CD}" dt="2022-03-03T13:35:55.370" v="0" actId="47"/>
        <pc:sldMkLst>
          <pc:docMk/>
          <pc:sldMk cId="2032574650" sldId="410"/>
        </pc:sldMkLst>
      </pc:sldChg>
    </pc:docChg>
  </pc:docChgLst>
  <pc:docChgLst>
    <pc:chgData name="Meyer Raphael (PAR-ES)" userId="79615dfe-ed48-4e74-a40f-4f7b034c1c27" providerId="ADAL" clId="{C3BA7792-AF9F-4D74-B393-5D6FA2F18B07}"/>
    <pc:docChg chg="undo custSel addSld delSld modSld sldOrd">
      <pc:chgData name="Meyer Raphael (PAR-ES)" userId="79615dfe-ed48-4e74-a40f-4f7b034c1c27" providerId="ADAL" clId="{C3BA7792-AF9F-4D74-B393-5D6FA2F18B07}" dt="2021-04-12T12:51:38.587" v="446" actId="478"/>
      <pc:docMkLst>
        <pc:docMk/>
      </pc:docMkLst>
      <pc:sldChg chg="addSp delSp modSp add mod ord">
        <pc:chgData name="Meyer Raphael (PAR-ES)" userId="79615dfe-ed48-4e74-a40f-4f7b034c1c27" providerId="ADAL" clId="{C3BA7792-AF9F-4D74-B393-5D6FA2F18B07}" dt="2021-04-12T12:51:38.587" v="446" actId="478"/>
        <pc:sldMkLst>
          <pc:docMk/>
          <pc:sldMk cId="586406932" sldId="346"/>
        </pc:sldMkLst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C3BA7792-AF9F-4D74-B393-5D6FA2F18B07}" dt="2021-04-12T12:48:38.437" v="434"/>
          <ac:spMkLst>
            <pc:docMk/>
            <pc:sldMk cId="586406932" sldId="346"/>
            <ac:spMk id="3" creationId="{B8D2A0CC-FB16-4EEB-B091-2BA590F22240}"/>
          </ac:spMkLst>
        </pc:spChg>
        <pc:spChg chg="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4" creationId="{FE424811-9A99-46D3-9443-AAB22DAEAB5A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6" creationId="{4710D6F0-0B14-4837-8BFF-20373F0447AD}"/>
          </ac:spMkLst>
        </pc:spChg>
        <pc:spChg chg="mod">
          <ac:chgData name="Meyer Raphael (PAR-ES)" userId="79615dfe-ed48-4e74-a40f-4f7b034c1c27" providerId="ADAL" clId="{C3BA7792-AF9F-4D74-B393-5D6FA2F18B07}" dt="2021-04-12T11:49:35.630" v="3" actId="20577"/>
          <ac:spMkLst>
            <pc:docMk/>
            <pc:sldMk cId="586406932" sldId="346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C3BA7792-AF9F-4D74-B393-5D6FA2F18B07}" dt="2021-04-12T12:48:45.247" v="435"/>
          <ac:spMkLst>
            <pc:docMk/>
            <pc:sldMk cId="586406932" sldId="346"/>
            <ac:spMk id="11" creationId="{F963F6DF-AF6F-409A-A583-03F4AC32EB90}"/>
          </ac:spMkLst>
        </pc:spChg>
        <pc:spChg chg="add del mod">
          <ac:chgData name="Meyer Raphael (PAR-ES)" userId="79615dfe-ed48-4e74-a40f-4f7b034c1c27" providerId="ADAL" clId="{C3BA7792-AF9F-4D74-B393-5D6FA2F18B07}" dt="2021-04-12T12:49:20.435" v="438" actId="478"/>
          <ac:spMkLst>
            <pc:docMk/>
            <pc:sldMk cId="586406932" sldId="346"/>
            <ac:spMk id="12" creationId="{3411D213-4220-42CD-AAEB-688E4E8A7BC9}"/>
          </ac:spMkLst>
        </pc:spChg>
        <pc:spChg chg="add del mod">
          <ac:chgData name="Meyer Raphael (PAR-ES)" userId="79615dfe-ed48-4e74-a40f-4f7b034c1c27" providerId="ADAL" clId="{C3BA7792-AF9F-4D74-B393-5D6FA2F18B07}" dt="2021-04-12T12:50:34.577" v="441" actId="478"/>
          <ac:spMkLst>
            <pc:docMk/>
            <pc:sldMk cId="586406932" sldId="346"/>
            <ac:spMk id="13" creationId="{185EF1E4-0ACA-4484-95B1-AA9AE7A114C9}"/>
          </ac:spMkLst>
        </pc:spChg>
        <pc:spChg chg="mod">
          <ac:chgData name="Meyer Raphael (PAR-ES)" userId="79615dfe-ed48-4e74-a40f-4f7b034c1c27" providerId="ADAL" clId="{C3BA7792-AF9F-4D74-B393-5D6FA2F18B07}" dt="2021-04-12T11:50:04.966" v="17" actId="20577"/>
          <ac:spMkLst>
            <pc:docMk/>
            <pc:sldMk cId="586406932" sldId="34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3BA7792-AF9F-4D74-B393-5D6FA2F18B07}" dt="2021-04-12T11:50:15.012" v="29" actId="20577"/>
          <ac:spMkLst>
            <pc:docMk/>
            <pc:sldMk cId="586406932" sldId="346"/>
            <ac:spMk id="31" creationId="{7491A47D-CAD4-478D-8F3A-296FFCB799F9}"/>
          </ac:spMkLst>
        </pc:spChg>
        <pc:graphicFrameChg chg="del">
          <ac:chgData name="Meyer Raphael (PAR-ES)" userId="79615dfe-ed48-4e74-a40f-4f7b034c1c27" providerId="ADAL" clId="{C3BA7792-AF9F-4D74-B393-5D6FA2F18B07}" dt="2021-04-12T12:10:59.272" v="43" actId="478"/>
          <ac:graphicFrameMkLst>
            <pc:docMk/>
            <pc:sldMk cId="586406932" sldId="346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0:55.121" v="443" actId="478"/>
          <ac:graphicFrameMkLst>
            <pc:docMk/>
            <pc:sldMk cId="586406932" sldId="346"/>
            <ac:graphicFrameMk id="14" creationId="{5E926C03-53A1-4951-915D-3D1CFA03F9DE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51:38.587" v="446" actId="478"/>
          <ac:graphicFrameMkLst>
            <pc:docMk/>
            <pc:sldMk cId="586406932" sldId="346"/>
            <ac:graphicFrameMk id="15" creationId="{FB8E307E-E548-4ECB-B1D3-B909DC818477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12:44.533" v="91" actId="478"/>
          <ac:graphicFrameMkLst>
            <pc:docMk/>
            <pc:sldMk cId="586406932" sldId="346"/>
            <ac:graphicFrameMk id="21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2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16:20.486" v="202" actId="552"/>
          <ac:graphicFrameMkLst>
            <pc:docMk/>
            <pc:sldMk cId="586406932" sldId="346"/>
            <ac:graphicFrameMk id="23" creationId="{B6049B58-D743-4BF8-ADBD-2CBD12961E56}"/>
          </ac:graphicFrameMkLst>
        </pc:graphicFrameChg>
        <pc:graphicFrameChg chg="del mod">
          <ac:chgData name="Meyer Raphael (PAR-ES)" userId="79615dfe-ed48-4e74-a40f-4f7b034c1c27" providerId="ADAL" clId="{C3BA7792-AF9F-4D74-B393-5D6FA2F18B07}" dt="2021-04-12T12:15:56.614" v="124" actId="478"/>
          <ac:graphicFrameMkLst>
            <pc:docMk/>
            <pc:sldMk cId="586406932" sldId="346"/>
            <ac:graphicFrameMk id="24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15:12.955" v="122" actId="47"/>
        <pc:sldMkLst>
          <pc:docMk/>
          <pc:sldMk cId="570795323" sldId="347"/>
        </pc:sldMkLst>
      </pc:sldChg>
      <pc:sldChg chg="delSp add del mod">
        <pc:chgData name="Meyer Raphael (PAR-ES)" userId="79615dfe-ed48-4e74-a40f-4f7b034c1c27" providerId="ADAL" clId="{C3BA7792-AF9F-4D74-B393-5D6FA2F18B07}" dt="2021-04-12T11:58:25.133" v="32" actId="47"/>
        <pc:sldMkLst>
          <pc:docMk/>
          <pc:sldMk cId="793490201" sldId="347"/>
        </pc:sldMkLst>
        <pc:graphicFrameChg chg="del">
          <ac:chgData name="Meyer Raphael (PAR-ES)" userId="79615dfe-ed48-4e74-a40f-4f7b034c1c27" providerId="ADAL" clId="{C3BA7792-AF9F-4D74-B393-5D6FA2F18B07}" dt="2021-04-12T11:50:45.289" v="31" actId="478"/>
          <ac:graphicFrameMkLst>
            <pc:docMk/>
            <pc:sldMk cId="793490201" sldId="347"/>
            <ac:graphicFrameMk id="5" creationId="{4CF6AB8B-CAB9-4C7E-8E59-E00357A4D7F0}"/>
          </ac:graphicFrameMkLst>
        </pc:graphicFrameChg>
      </pc:sldChg>
      <pc:sldChg chg="addSp delSp modSp add del mod ord">
        <pc:chgData name="Meyer Raphael (PAR-ES)" userId="79615dfe-ed48-4e74-a40f-4f7b034c1c27" providerId="ADAL" clId="{C3BA7792-AF9F-4D74-B393-5D6FA2F18B07}" dt="2021-04-12T12:22:31.296" v="222" actId="47"/>
        <pc:sldMkLst>
          <pc:docMk/>
          <pc:sldMk cId="2080478051" sldId="347"/>
        </pc:sldMkLst>
        <pc:spChg chg="mod">
          <ac:chgData name="Meyer Raphael (PAR-ES)" userId="79615dfe-ed48-4e74-a40f-4f7b034c1c27" providerId="ADAL" clId="{C3BA7792-AF9F-4D74-B393-5D6FA2F18B07}" dt="2021-04-12T12:20:55.958" v="215"/>
          <ac:spMkLst>
            <pc:docMk/>
            <pc:sldMk cId="2080478051" sldId="34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3BA7792-AF9F-4D74-B393-5D6FA2F18B07}" dt="2021-04-12T12:21:17.372" v="218" actId="14100"/>
          <ac:spMkLst>
            <pc:docMk/>
            <pc:sldMk cId="2080478051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3BA7792-AF9F-4D74-B393-5D6FA2F18B07}" dt="2021-04-12T12:21:03.789" v="216"/>
          <ac:spMkLst>
            <pc:docMk/>
            <pc:sldMk cId="2080478051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1" creationId="{CA9B4D89-1FDB-4C7F-B8C7-E63F83FD8165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4" creationId="{B18F89CA-BF06-4B63-8247-682AF06EDE3C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25" creationId="{EBF56033-488B-4FE1-8624-BCF7B2473895}"/>
          </ac:spMkLst>
        </pc:spChg>
        <pc:spChg chg="del">
          <ac:chgData name="Meyer Raphael (PAR-ES)" userId="79615dfe-ed48-4e74-a40f-4f7b034c1c27" providerId="ADAL" clId="{C3BA7792-AF9F-4D74-B393-5D6FA2F18B07}" dt="2021-04-12T12:20:29.640" v="213" actId="478"/>
          <ac:spMkLst>
            <pc:docMk/>
            <pc:sldMk cId="2080478051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3BA7792-AF9F-4D74-B393-5D6FA2F18B07}" dt="2021-04-12T12:21:34.857" v="219"/>
          <ac:spMkLst>
            <pc:docMk/>
            <pc:sldMk cId="2080478051" sldId="347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C3BA7792-AF9F-4D74-B393-5D6FA2F18B07}" dt="2021-04-12T12:20:45.302" v="214"/>
          <ac:spMkLst>
            <pc:docMk/>
            <pc:sldMk cId="2080478051" sldId="347"/>
            <ac:spMk id="33" creationId="{92C57804-2D5A-42D3-82B9-CD97A4CCCA92}"/>
          </ac:spMkLst>
        </pc:spChg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205717958" sldId="347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27" v="428" actId="27918"/>
        <pc:sldMkLst>
          <pc:docMk/>
          <pc:sldMk cId="3321596445" sldId="347"/>
        </pc:sldMkLst>
        <pc:graphicFrameChg chg="del">
          <ac:chgData name="Meyer Raphael (PAR-ES)" userId="79615dfe-ed48-4e74-a40f-4f7b034c1c27" providerId="ADAL" clId="{C3BA7792-AF9F-4D74-B393-5D6FA2F18B07}" dt="2021-04-12T12:22:48.102" v="225" actId="478"/>
          <ac:graphicFrameMkLst>
            <pc:docMk/>
            <pc:sldMk cId="3321596445" sldId="347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C3BA7792-AF9F-4D74-B393-5D6FA2F18B07}" dt="2021-04-12T12:22:49.921" v="226" actId="478"/>
          <ac:graphicFrameMkLst>
            <pc:docMk/>
            <pc:sldMk cId="3321596445" sldId="347"/>
            <ac:graphicFrameMk id="24" creationId="{B6049B58-D743-4BF8-ADBD-2CBD12961E56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3:43.941" v="235" actId="478"/>
          <ac:graphicFrameMkLst>
            <pc:docMk/>
            <pc:sldMk cId="3321596445" sldId="347"/>
            <ac:graphicFrameMk id="26" creationId="{0ABC9AA6-5448-4526-95A4-2749C3978D92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5:39.389" v="257" actId="478"/>
          <ac:graphicFrameMkLst>
            <pc:docMk/>
            <pc:sldMk cId="3321596445" sldId="347"/>
            <ac:graphicFrameMk id="33" creationId="{035A9469-D45F-46D7-A1A1-0BB7FBB1B388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6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6:01.252" v="315" actId="552"/>
          <ac:graphicFrameMkLst>
            <pc:docMk/>
            <pc:sldMk cId="3321596445" sldId="347"/>
            <ac:graphicFrameMk id="37" creationId="{B6049B58-D743-4BF8-ADBD-2CBD12961E56}"/>
          </ac:graphicFrameMkLst>
        </pc:graphicFrameChg>
      </pc:sldChg>
      <pc:sldChg chg="add del">
        <pc:chgData name="Meyer Raphael (PAR-ES)" userId="79615dfe-ed48-4e74-a40f-4f7b034c1c27" providerId="ADAL" clId="{C3BA7792-AF9F-4D74-B393-5D6FA2F18B07}" dt="2021-04-12T12:22:35.942" v="223" actId="47"/>
        <pc:sldMkLst>
          <pc:docMk/>
          <pc:sldMk cId="840680803" sldId="348"/>
        </pc:sldMkLst>
      </pc:sldChg>
      <pc:sldChg chg="add del">
        <pc:chgData name="Meyer Raphael (PAR-ES)" userId="79615dfe-ed48-4e74-a40f-4f7b034c1c27" providerId="ADAL" clId="{C3BA7792-AF9F-4D74-B393-5D6FA2F18B07}" dt="2021-04-12T12:15:14.238" v="123" actId="47"/>
        <pc:sldMkLst>
          <pc:docMk/>
          <pc:sldMk cId="1904841794" sldId="348"/>
        </pc:sldMkLst>
      </pc:sldChg>
      <pc:sldChg chg="add del">
        <pc:chgData name="Meyer Raphael (PAR-ES)" userId="79615dfe-ed48-4e74-a40f-4f7b034c1c27" providerId="ADAL" clId="{C3BA7792-AF9F-4D74-B393-5D6FA2F18B07}" dt="2021-04-12T11:49:30.193" v="1" actId="47"/>
        <pc:sldMkLst>
          <pc:docMk/>
          <pc:sldMk cId="2765077693" sldId="348"/>
        </pc:sldMkLst>
      </pc:sldChg>
      <pc:sldChg chg="addSp delSp modSp add mod ord">
        <pc:chgData name="Meyer Raphael (PAR-ES)" userId="79615dfe-ed48-4e74-a40f-4f7b034c1c27" providerId="ADAL" clId="{C3BA7792-AF9F-4D74-B393-5D6FA2F18B07}" dt="2021-04-12T12:41:14.244" v="429" actId="27918"/>
        <pc:sldMkLst>
          <pc:docMk/>
          <pc:sldMk cId="3052738061" sldId="348"/>
        </pc:sldMkLst>
        <pc:graphicFrameChg chg="del">
          <ac:chgData name="Meyer Raphael (PAR-ES)" userId="79615dfe-ed48-4e74-a40f-4f7b034c1c27" providerId="ADAL" clId="{C3BA7792-AF9F-4D74-B393-5D6FA2F18B07}" dt="2021-04-12T12:27:33.034" v="325" actId="478"/>
          <ac:graphicFrameMkLst>
            <pc:docMk/>
            <pc:sldMk cId="3052738061" sldId="348"/>
            <ac:graphicFrameMk id="5" creationId="{4CF6AB8B-CAB9-4C7E-8E59-E00357A4D7F0}"/>
          </ac:graphicFrameMkLst>
        </pc:graphicFrameChg>
        <pc:graphicFrameChg chg="add del mod">
          <ac:chgData name="Meyer Raphael (PAR-ES)" userId="79615dfe-ed48-4e74-a40f-4f7b034c1c27" providerId="ADAL" clId="{C3BA7792-AF9F-4D74-B393-5D6FA2F18B07}" dt="2021-04-12T12:28:14.400" v="359" actId="478"/>
          <ac:graphicFrameMkLst>
            <pc:docMk/>
            <pc:sldMk cId="3052738061" sldId="348"/>
            <ac:graphicFrameMk id="24" creationId="{B6049B58-D743-4BF8-ADBD-2CBD12961E56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5" creationId="{4CF6AB8B-CAB9-4C7E-8E59-E00357A4D7F0}"/>
          </ac:graphicFrameMkLst>
        </pc:graphicFrameChg>
        <pc:graphicFrameChg chg="add mod">
          <ac:chgData name="Meyer Raphael (PAR-ES)" userId="79615dfe-ed48-4e74-a40f-4f7b034c1c27" providerId="ADAL" clId="{C3BA7792-AF9F-4D74-B393-5D6FA2F18B07}" dt="2021-04-12T12:28:39.219" v="426" actId="552"/>
          <ac:graphicFrameMkLst>
            <pc:docMk/>
            <pc:sldMk cId="3052738061" sldId="348"/>
            <ac:graphicFrameMk id="26" creationId="{B6049B58-D743-4BF8-ADBD-2CBD12961E56}"/>
          </ac:graphicFrameMkLst>
        </pc:graphicFrameChg>
      </pc:sldChg>
    </pc:docChg>
  </pc:docChgLst>
  <pc:docChgLst>
    <pc:chgData name="Meyer Raphael (PAR-ES)" userId="79615dfe-ed48-4e74-a40f-4f7b034c1c27" providerId="ADAL" clId="{D16ED016-9D6C-4DA7-AE6D-6318925334DB}"/>
    <pc:docChg chg="custSel addSld delSld modSld">
      <pc:chgData name="Meyer Raphael (PAR-ES)" userId="79615dfe-ed48-4e74-a40f-4f7b034c1c27" providerId="ADAL" clId="{D16ED016-9D6C-4DA7-AE6D-6318925334DB}" dt="2022-01-12T16:07:31.739" v="160"/>
      <pc:docMkLst>
        <pc:docMk/>
      </pc:docMkLst>
      <pc:sldChg chg="new del">
        <pc:chgData name="Meyer Raphael (PAR-ES)" userId="79615dfe-ed48-4e74-a40f-4f7b034c1c27" providerId="ADAL" clId="{D16ED016-9D6C-4DA7-AE6D-6318925334DB}" dt="2022-01-12T15:54:26.675" v="109" actId="47"/>
        <pc:sldMkLst>
          <pc:docMk/>
          <pc:sldMk cId="168277507" sldId="398"/>
        </pc:sldMkLst>
      </pc:sldChg>
      <pc:sldChg chg="addSp delSp modSp add mod">
        <pc:chgData name="Meyer Raphael (PAR-ES)" userId="79615dfe-ed48-4e74-a40f-4f7b034c1c27" providerId="ADAL" clId="{D16ED016-9D6C-4DA7-AE6D-6318925334DB}" dt="2022-01-12T16:07:31.739" v="160"/>
        <pc:sldMkLst>
          <pc:docMk/>
          <pc:sldMk cId="2131180641" sldId="398"/>
        </pc:sldMkLst>
        <pc:spChg chg="mod">
          <ac:chgData name="Meyer Raphael (PAR-ES)" userId="79615dfe-ed48-4e74-a40f-4f7b034c1c27" providerId="ADAL" clId="{D16ED016-9D6C-4DA7-AE6D-6318925334DB}" dt="2022-01-12T16:06:46.771" v="155"/>
          <ac:spMkLst>
            <pc:docMk/>
            <pc:sldMk cId="2131180641" sldId="398"/>
            <ac:spMk id="2" creationId="{00000000-0000-0000-0000-000000000000}"/>
          </ac:spMkLst>
        </pc:spChg>
        <pc:spChg chg="del mod">
          <ac:chgData name="Meyer Raphael (PAR-ES)" userId="79615dfe-ed48-4e74-a40f-4f7b034c1c27" providerId="ADAL" clId="{D16ED016-9D6C-4DA7-AE6D-6318925334DB}" dt="2022-01-12T16:07:18.375" v="158"/>
          <ac:spMkLst>
            <pc:docMk/>
            <pc:sldMk cId="2131180641" sldId="398"/>
            <ac:spMk id="6" creationId="{0148E78D-7FBB-46BC-A7E3-0EFE6D9E4679}"/>
          </ac:spMkLst>
        </pc:spChg>
        <pc:spChg chg="del">
          <ac:chgData name="Meyer Raphael (PAR-ES)" userId="79615dfe-ed48-4e74-a40f-4f7b034c1c27" providerId="ADAL" clId="{D16ED016-9D6C-4DA7-AE6D-6318925334DB}" dt="2022-01-12T16:01:46.375" v="130" actId="478"/>
          <ac:spMkLst>
            <pc:docMk/>
            <pc:sldMk cId="2131180641" sldId="398"/>
            <ac:spMk id="10" creationId="{41B9B9AB-4B12-4760-AF37-4FABDDFAE68B}"/>
          </ac:spMkLst>
        </pc:spChg>
        <pc:spChg chg="add mod">
          <ac:chgData name="Meyer Raphael (PAR-ES)" userId="79615dfe-ed48-4e74-a40f-4f7b034c1c27" providerId="ADAL" clId="{D16ED016-9D6C-4DA7-AE6D-6318925334DB}" dt="2022-01-12T16:01:09.927" v="129" actId="14100"/>
          <ac:spMkLst>
            <pc:docMk/>
            <pc:sldMk cId="2131180641" sldId="398"/>
            <ac:spMk id="11" creationId="{84F82B92-ACCD-41AC-8B9B-F49F946956E6}"/>
          </ac:spMkLst>
        </pc:spChg>
        <pc:graphicFrameChg chg="add mod">
          <ac:chgData name="Meyer Raphael (PAR-ES)" userId="79615dfe-ed48-4e74-a40f-4f7b034c1c27" providerId="ADAL" clId="{D16ED016-9D6C-4DA7-AE6D-6318925334DB}" dt="2022-01-12T16:07:31.739" v="160"/>
          <ac:graphicFrameMkLst>
            <pc:docMk/>
            <pc:sldMk cId="2131180641" sldId="398"/>
            <ac:graphicFrameMk id="8" creationId="{6973129B-3766-41C3-BD0F-FBF7F523AB4F}"/>
          </ac:graphicFrameMkLst>
        </pc:graphicFrameChg>
        <pc:graphicFrameChg chg="del">
          <ac:chgData name="Meyer Raphael (PAR-ES)" userId="79615dfe-ed48-4e74-a40f-4f7b034c1c27" providerId="ADAL" clId="{D16ED016-9D6C-4DA7-AE6D-6318925334DB}" dt="2022-01-12T15:54:38.761" v="111" actId="478"/>
          <ac:graphicFrameMkLst>
            <pc:docMk/>
            <pc:sldMk cId="2131180641" sldId="398"/>
            <ac:graphicFrameMk id="9" creationId="{00000000-0000-0000-0000-000000000000}"/>
          </ac:graphicFrameMkLst>
        </pc:graphicFrameChg>
      </pc:sldChg>
      <pc:sldChg chg="add del">
        <pc:chgData name="Meyer Raphael (PAR-ES)" userId="79615dfe-ed48-4e74-a40f-4f7b034c1c27" providerId="ADAL" clId="{D16ED016-9D6C-4DA7-AE6D-6318925334DB}" dt="2021-12-16T10:16:25.913" v="1"/>
        <pc:sldMkLst>
          <pc:docMk/>
          <pc:sldMk cId="2363598361" sldId="398"/>
        </pc:sldMkLst>
      </pc:sldChg>
      <pc:sldChg chg="addSp delSp modSp add del mod">
        <pc:chgData name="Meyer Raphael (PAR-ES)" userId="79615dfe-ed48-4e74-a40f-4f7b034c1c27" providerId="ADAL" clId="{D16ED016-9D6C-4DA7-AE6D-6318925334DB}" dt="2021-12-16T13:41:54.959" v="107" actId="47"/>
        <pc:sldMkLst>
          <pc:docMk/>
          <pc:sldMk cId="2860123142" sldId="398"/>
        </pc:sldMkLst>
        <pc:spChg chg="mod">
          <ac:chgData name="Meyer Raphael (PAR-ES)" userId="79615dfe-ed48-4e74-a40f-4f7b034c1c27" providerId="ADAL" clId="{D16ED016-9D6C-4DA7-AE6D-6318925334DB}" dt="2021-12-16T10:17:04.394" v="5"/>
          <ac:spMkLst>
            <pc:docMk/>
            <pc:sldMk cId="2860123142" sldId="398"/>
            <ac:spMk id="6" creationId="{1A98C252-C02D-4544-840F-54EE422435AE}"/>
          </ac:spMkLst>
        </pc:spChg>
        <pc:graphicFrameChg chg="add mod">
          <ac:chgData name="Meyer Raphael (PAR-ES)" userId="79615dfe-ed48-4e74-a40f-4f7b034c1c27" providerId="ADAL" clId="{D16ED016-9D6C-4DA7-AE6D-6318925334DB}" dt="2021-12-16T10:34:08.383" v="94" actId="14100"/>
          <ac:graphicFrameMkLst>
            <pc:docMk/>
            <pc:sldMk cId="2860123142" sldId="398"/>
            <ac:graphicFrameMk id="5" creationId="{6729762D-1076-482A-8364-458575171DFC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02.624" v="93" actId="14100"/>
          <ac:graphicFrameMkLst>
            <pc:docMk/>
            <pc:sldMk cId="2860123142" sldId="398"/>
            <ac:graphicFrameMk id="7" creationId="{6AA49CA7-7CB9-4541-8C87-A708BBB8238B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0.878" v="3" actId="478"/>
          <ac:graphicFrameMkLst>
            <pc:docMk/>
            <pc:sldMk cId="2860123142" sldId="398"/>
            <ac:graphicFrameMk id="8" creationId="{9B23B171-CA74-4173-BBA6-57F61B8D6F91}"/>
          </ac:graphicFrameMkLst>
        </pc:graphicFrameChg>
        <pc:graphicFrameChg chg="del">
          <ac:chgData name="Meyer Raphael (PAR-ES)" userId="79615dfe-ed48-4e74-a40f-4f7b034c1c27" providerId="ADAL" clId="{D16ED016-9D6C-4DA7-AE6D-6318925334DB}" dt="2021-12-16T10:16:53.347" v="4" actId="478"/>
          <ac:graphicFrameMkLst>
            <pc:docMk/>
            <pc:sldMk cId="2860123142" sldId="398"/>
            <ac:graphicFrameMk id="9" creationId="{CB25D658-4CAC-4D7D-8D2D-42B74A2C2DC7}"/>
          </ac:graphicFrameMkLst>
        </pc:graphicFrameChg>
        <pc:graphicFrameChg chg="add mod">
          <ac:chgData name="Meyer Raphael (PAR-ES)" userId="79615dfe-ed48-4e74-a40f-4f7b034c1c27" providerId="ADAL" clId="{D16ED016-9D6C-4DA7-AE6D-6318925334DB}" dt="2021-12-16T10:34:13.245" v="95" actId="14100"/>
          <ac:graphicFrameMkLst>
            <pc:docMk/>
            <pc:sldMk cId="2860123142" sldId="398"/>
            <ac:graphicFrameMk id="10" creationId="{29D96E2E-4E51-44E3-8548-624FC66A1AE2}"/>
          </ac:graphicFrameMkLst>
        </pc:graphicFrameChg>
      </pc:sldChg>
    </pc:docChg>
  </pc:docChgLst>
  <pc:docChgLst>
    <pc:chgData name="Meyer Raphael (PAR-ES)" userId="79615dfe-ed48-4e74-a40f-4f7b034c1c27" providerId="ADAL" clId="{484A6586-18A4-4CF5-BB2F-02A5F7770728}"/>
    <pc:docChg chg="custSel addSld delSld modSld sldOrd">
      <pc:chgData name="Meyer Raphael (PAR-ES)" userId="79615dfe-ed48-4e74-a40f-4f7b034c1c27" providerId="ADAL" clId="{484A6586-18A4-4CF5-BB2F-02A5F7770728}" dt="2022-02-21T12:40:24.202" v="20" actId="20577"/>
      <pc:docMkLst>
        <pc:docMk/>
      </pc:docMkLst>
      <pc:sldChg chg="modSp add mod">
        <pc:chgData name="Meyer Raphael (PAR-ES)" userId="79615dfe-ed48-4e74-a40f-4f7b034c1c27" providerId="ADAL" clId="{484A6586-18A4-4CF5-BB2F-02A5F7770728}" dt="2022-02-21T12:39:17.018" v="13" actId="20577"/>
        <pc:sldMkLst>
          <pc:docMk/>
          <pc:sldMk cId="91491486" sldId="403"/>
        </pc:sldMkLst>
        <pc:spChg chg="mod">
          <ac:chgData name="Meyer Raphael (PAR-ES)" userId="79615dfe-ed48-4e74-a40f-4f7b034c1c27" providerId="ADAL" clId="{484A6586-18A4-4CF5-BB2F-02A5F7770728}" dt="2022-02-21T12:38:56.572" v="7"/>
          <ac:spMkLst>
            <pc:docMk/>
            <pc:sldMk cId="91491486" sldId="40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39:17.018" v="13" actId="20577"/>
          <ac:spMkLst>
            <pc:docMk/>
            <pc:sldMk cId="91491486" sldId="403"/>
            <ac:spMk id="7" creationId="{8B4B6626-9A0F-4741-8F83-BF160AB040D0}"/>
          </ac:spMkLst>
        </pc:spChg>
      </pc:sldChg>
      <pc:sldChg chg="del">
        <pc:chgData name="Meyer Raphael (PAR-ES)" userId="79615dfe-ed48-4e74-a40f-4f7b034c1c27" providerId="ADAL" clId="{484A6586-18A4-4CF5-BB2F-02A5F7770728}" dt="2022-02-21T12:34:13.455" v="0" actId="47"/>
        <pc:sldMkLst>
          <pc:docMk/>
          <pc:sldMk cId="3015962495" sldId="403"/>
        </pc:sldMkLst>
      </pc:sldChg>
      <pc:sldChg chg="modSp add mod">
        <pc:chgData name="Meyer Raphael (PAR-ES)" userId="79615dfe-ed48-4e74-a40f-4f7b034c1c27" providerId="ADAL" clId="{484A6586-18A4-4CF5-BB2F-02A5F7770728}" dt="2022-02-21T12:40:24.202" v="20" actId="20577"/>
        <pc:sldMkLst>
          <pc:docMk/>
          <pc:sldMk cId="2102945685" sldId="404"/>
        </pc:sldMkLst>
        <pc:spChg chg="mod">
          <ac:chgData name="Meyer Raphael (PAR-ES)" userId="79615dfe-ed48-4e74-a40f-4f7b034c1c27" providerId="ADAL" clId="{484A6586-18A4-4CF5-BB2F-02A5F7770728}" dt="2022-02-21T12:40:06.681" v="14"/>
          <ac:spMkLst>
            <pc:docMk/>
            <pc:sldMk cId="210294568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84A6586-18A4-4CF5-BB2F-02A5F7770728}" dt="2022-02-21T12:40:24.202" v="20" actId="20577"/>
          <ac:spMkLst>
            <pc:docMk/>
            <pc:sldMk cId="2102945685" sldId="404"/>
            <ac:spMk id="7" creationId="{8B4B6626-9A0F-4741-8F83-BF160AB040D0}"/>
          </ac:spMkLst>
        </pc:spChg>
      </pc:sldChg>
      <pc:sldChg chg="modSp add mod ord">
        <pc:chgData name="Meyer Raphael (PAR-ES)" userId="79615dfe-ed48-4e74-a40f-4f7b034c1c27" providerId="ADAL" clId="{484A6586-18A4-4CF5-BB2F-02A5F7770728}" dt="2022-02-21T12:35:28.062" v="6"/>
        <pc:sldMkLst>
          <pc:docMk/>
          <pc:sldMk cId="246157559" sldId="405"/>
        </pc:sldMkLst>
        <pc:spChg chg="mod">
          <ac:chgData name="Meyer Raphael (PAR-ES)" userId="79615dfe-ed48-4e74-a40f-4f7b034c1c27" providerId="ADAL" clId="{484A6586-18A4-4CF5-BB2F-02A5F7770728}" dt="2022-02-21T12:34:55.740" v="4"/>
          <ac:spMkLst>
            <pc:docMk/>
            <pc:sldMk cId="246157559" sldId="405"/>
            <ac:spMk id="2" creationId="{00000000-0000-0000-0000-000000000000}"/>
          </ac:spMkLst>
        </pc:spChg>
      </pc:sldChg>
      <pc:sldMasterChg chg="delSldLayout">
        <pc:chgData name="Meyer Raphael (PAR-ES)" userId="79615dfe-ed48-4e74-a40f-4f7b034c1c27" providerId="ADAL" clId="{484A6586-18A4-4CF5-BB2F-02A5F7770728}" dt="2022-02-21T12:34:13.455" v="0" actId="47"/>
        <pc:sldMasterMkLst>
          <pc:docMk/>
          <pc:sldMasterMk cId="247366169" sldId="2147483712"/>
        </pc:sldMasterMkLst>
        <pc:sldLayoutChg chg="del">
          <pc:chgData name="Meyer Raphael (PAR-ES)" userId="79615dfe-ed48-4e74-a40f-4f7b034c1c27" providerId="ADAL" clId="{484A6586-18A4-4CF5-BB2F-02A5F7770728}" dt="2022-02-21T12:34:13.455" v="0" actId="47"/>
          <pc:sldLayoutMkLst>
            <pc:docMk/>
            <pc:sldMasterMk cId="247366169" sldId="2147483712"/>
            <pc:sldLayoutMk cId="1978926214" sldId="2147483749"/>
          </pc:sldLayoutMkLst>
        </pc:sldLayoutChg>
      </pc:sldMasterChg>
    </pc:docChg>
  </pc:docChgLst>
  <pc:docChgLst>
    <pc:chgData name="Meyer Raphael (PAR-ES)" userId="79615dfe-ed48-4e74-a40f-4f7b034c1c27" providerId="ADAL" clId="{D0BF9686-3B82-4CF7-A6D6-3C19556E6BFB}"/>
    <pc:docChg chg="undo custSel addSld delSld modSld sldOrd">
      <pc:chgData name="Meyer Raphael (PAR-ES)" userId="79615dfe-ed48-4e74-a40f-4f7b034c1c27" providerId="ADAL" clId="{D0BF9686-3B82-4CF7-A6D6-3C19556E6BFB}" dt="2021-04-08T06:35:27.798" v="85" actId="47"/>
      <pc:docMkLst>
        <pc:docMk/>
      </pc:docMkLst>
      <pc:sldChg chg="modSp mod">
        <pc:chgData name="Meyer Raphael (PAR-ES)" userId="79615dfe-ed48-4e74-a40f-4f7b034c1c27" providerId="ADAL" clId="{D0BF9686-3B82-4CF7-A6D6-3C19556E6BFB}" dt="2021-04-08T06:31:10.289" v="5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D0BF9686-3B82-4CF7-A6D6-3C19556E6BFB}" dt="2021-04-08T06:25:46.897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D0BF9686-3B82-4CF7-A6D6-3C19556E6BFB}" dt="2021-04-08T06:26:07.163" v="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D0BF9686-3B82-4CF7-A6D6-3C19556E6BFB}" dt="2021-04-08T06:27:59.729" v="29" actId="2057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D0BF9686-3B82-4CF7-A6D6-3C19556E6BFB}" dt="2021-04-08T06:26:20.350" v="1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D0BF9686-3B82-4CF7-A6D6-3C19556E6BFB}" dt="2021-04-08T06:30:22.033" v="43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D0BF9686-3B82-4CF7-A6D6-3C19556E6BFB}" dt="2021-04-08T06:33:53.839" v="71" actId="47"/>
        <pc:sldMkLst>
          <pc:docMk/>
          <pc:sldMk cId="2400256824" sldId="342"/>
        </pc:sldMkLst>
      </pc:sldChg>
      <pc:sldChg chg="del">
        <pc:chgData name="Meyer Raphael (PAR-ES)" userId="79615dfe-ed48-4e74-a40f-4f7b034c1c27" providerId="ADAL" clId="{D0BF9686-3B82-4CF7-A6D6-3C19556E6BFB}" dt="2021-04-08T06:35:27.798" v="85" actId="47"/>
        <pc:sldMkLst>
          <pc:docMk/>
          <pc:sldMk cId="684558250" sldId="343"/>
        </pc:sldMkLst>
      </pc:sldChg>
      <pc:sldChg chg="addSp delSp modSp add mod ord">
        <pc:chgData name="Meyer Raphael (PAR-ES)" userId="79615dfe-ed48-4e74-a40f-4f7b034c1c27" providerId="ADAL" clId="{D0BF9686-3B82-4CF7-A6D6-3C19556E6BFB}" dt="2021-04-08T06:33:42.425" v="70"/>
        <pc:sldMkLst>
          <pc:docMk/>
          <pc:sldMk cId="2164349284" sldId="344"/>
        </pc:sldMkLst>
        <pc:spChg chg="mod">
          <ac:chgData name="Meyer Raphael (PAR-ES)" userId="79615dfe-ed48-4e74-a40f-4f7b034c1c27" providerId="ADAL" clId="{D0BF9686-3B82-4CF7-A6D6-3C19556E6BFB}" dt="2021-04-08T06:33:36.770" v="69" actId="1076"/>
          <ac:spMkLst>
            <pc:docMk/>
            <pc:sldMk cId="2164349284" sldId="344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3:25.297" v="67" actId="14100"/>
          <ac:spMkLst>
            <pc:docMk/>
            <pc:sldMk cId="2164349284" sldId="34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3:12.881" v="65"/>
          <ac:spMkLst>
            <pc:docMk/>
            <pc:sldMk cId="2164349284" sldId="34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1" creationId="{88C35928-E80D-468D-83DD-1D8DE54D7E3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2" creationId="{20D1AB08-C066-4256-A6EF-DC46ED8896AC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3" creationId="{FF630629-F355-48F1-8C43-E47359087DC3}"/>
          </ac:spMkLst>
        </pc:spChg>
        <pc:spChg chg="add mod">
          <ac:chgData name="Meyer Raphael (PAR-ES)" userId="79615dfe-ed48-4e74-a40f-4f7b034c1c27" providerId="ADAL" clId="{D0BF9686-3B82-4CF7-A6D6-3C19556E6BFB}" dt="2021-04-08T06:32:54.812" v="63"/>
          <ac:spMkLst>
            <pc:docMk/>
            <pc:sldMk cId="2164349284" sldId="344"/>
            <ac:spMk id="25" creationId="{2F2CD3C6-391B-4F16-9005-961829E2EB10}"/>
          </ac:spMkLst>
        </pc:spChg>
        <pc:spChg chg="del">
          <ac:chgData name="Meyer Raphael (PAR-ES)" userId="79615dfe-ed48-4e74-a40f-4f7b034c1c27" providerId="ADAL" clId="{D0BF9686-3B82-4CF7-A6D6-3C19556E6BFB}" dt="2021-04-08T06:32:43.194" v="62" actId="478"/>
          <ac:spMkLst>
            <pc:docMk/>
            <pc:sldMk cId="2164349284" sldId="34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3:42.425" v="70"/>
          <ac:spMkLst>
            <pc:docMk/>
            <pc:sldMk cId="2164349284" sldId="344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D0BF9686-3B82-4CF7-A6D6-3C19556E6BFB}" dt="2021-04-08T06:35:19.954" v="84" actId="14100"/>
        <pc:sldMkLst>
          <pc:docMk/>
          <pc:sldMk cId="2994949244" sldId="345"/>
        </pc:sldMkLst>
        <pc:spChg chg="mod">
          <ac:chgData name="Meyer Raphael (PAR-ES)" userId="79615dfe-ed48-4e74-a40f-4f7b034c1c27" providerId="ADAL" clId="{D0BF9686-3B82-4CF7-A6D6-3C19556E6BFB}" dt="2021-04-08T06:34:47.665" v="79"/>
          <ac:spMkLst>
            <pc:docMk/>
            <pc:sldMk cId="2994949244" sldId="345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D0BF9686-3B82-4CF7-A6D6-3C19556E6BFB}" dt="2021-04-08T06:35:05.165" v="82" actId="14100"/>
          <ac:spMkLst>
            <pc:docMk/>
            <pc:sldMk cId="2994949244" sldId="345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D0BF9686-3B82-4CF7-A6D6-3C19556E6BFB}" dt="2021-04-08T06:34:55.721" v="80"/>
          <ac:spMkLst>
            <pc:docMk/>
            <pc:sldMk cId="2994949244" sldId="345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1" creationId="{933C6865-8952-4704-8A84-E215B8185F98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2" creationId="{91FFFA32-4338-4697-9445-C8BE2722956A}"/>
          </ac:spMkLst>
        </pc:spChg>
        <pc:spChg chg="add mod">
          <ac:chgData name="Meyer Raphael (PAR-ES)" userId="79615dfe-ed48-4e74-a40f-4f7b034c1c27" providerId="ADAL" clId="{D0BF9686-3B82-4CF7-A6D6-3C19556E6BFB}" dt="2021-04-08T06:34:15.689" v="73"/>
          <ac:spMkLst>
            <pc:docMk/>
            <pc:sldMk cId="2994949244" sldId="345"/>
            <ac:spMk id="23" creationId="{D27DDA6F-0506-4E86-AAB8-5622BF5A0FDB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25" creationId="{573F8765-3DD7-4C1C-A674-A57150AF63CC}"/>
          </ac:spMkLst>
        </pc:spChg>
        <pc:spChg chg="del">
          <ac:chgData name="Meyer Raphael (PAR-ES)" userId="79615dfe-ed48-4e74-a40f-4f7b034c1c27" providerId="ADAL" clId="{D0BF9686-3B82-4CF7-A6D6-3C19556E6BFB}" dt="2021-04-08T06:34:04.164" v="72" actId="478"/>
          <ac:spMkLst>
            <pc:docMk/>
            <pc:sldMk cId="2994949244" sldId="345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D0BF9686-3B82-4CF7-A6D6-3C19556E6BFB}" dt="2021-04-08T06:35:19.954" v="84" actId="14100"/>
          <ac:spMkLst>
            <pc:docMk/>
            <pc:sldMk cId="2994949244" sldId="345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3" creationId="{EEB991F9-AEBD-4E8A-AE7D-9B7B2074D94C}"/>
          </ac:spMkLst>
        </pc:spChg>
        <pc:spChg chg="add del mod">
          <ac:chgData name="Meyer Raphael (PAR-ES)" userId="79615dfe-ed48-4e74-a40f-4f7b034c1c27" providerId="ADAL" clId="{D0BF9686-3B82-4CF7-A6D6-3C19556E6BFB}" dt="2021-04-08T06:34:23.611" v="75"/>
          <ac:spMkLst>
            <pc:docMk/>
            <pc:sldMk cId="2994949244" sldId="345"/>
            <ac:spMk id="36" creationId="{902858BE-1395-4A7C-A0C3-30D2780C74E6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7" creationId="{1B8D3E6D-F901-4539-AC5C-5420A2A19A23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8" creationId="{235DB7B3-D364-460F-95D9-A28BA0CD52DD}"/>
          </ac:spMkLst>
        </pc:spChg>
        <pc:spChg chg="add del mod">
          <ac:chgData name="Meyer Raphael (PAR-ES)" userId="79615dfe-ed48-4e74-a40f-4f7b034c1c27" providerId="ADAL" clId="{D0BF9686-3B82-4CF7-A6D6-3C19556E6BFB}" dt="2021-04-08T06:34:30.993" v="77"/>
          <ac:spMkLst>
            <pc:docMk/>
            <pc:sldMk cId="2994949244" sldId="345"/>
            <ac:spMk id="39" creationId="{C92F2BFC-8B5B-44D9-A0F9-156E7461995C}"/>
          </ac:spMkLst>
        </pc:spChg>
        <pc:spChg chg="add mod">
          <ac:chgData name="Meyer Raphael (PAR-ES)" userId="79615dfe-ed48-4e74-a40f-4f7b034c1c27" providerId="ADAL" clId="{D0BF9686-3B82-4CF7-A6D6-3C19556E6BFB}" dt="2021-04-08T06:34:37.548" v="78"/>
          <ac:spMkLst>
            <pc:docMk/>
            <pc:sldMk cId="2994949244" sldId="345"/>
            <ac:spMk id="40" creationId="{662137A3-D0A5-45D7-A3D9-9932A46199E2}"/>
          </ac:spMkLst>
        </pc:spChg>
      </pc:sldChg>
    </pc:docChg>
  </pc:docChgLst>
  <pc:docChgLst>
    <pc:chgData name="Meyer Raphael (PAR-ES)" userId="79615dfe-ed48-4e74-a40f-4f7b034c1c27" providerId="ADAL" clId="{97A640CE-C770-49C4-B5FE-7745D283A7E3}"/>
    <pc:docChg chg="modSld">
      <pc:chgData name="Meyer Raphael (PAR-ES)" userId="79615dfe-ed48-4e74-a40f-4f7b034c1c27" providerId="ADAL" clId="{97A640CE-C770-49C4-B5FE-7745D283A7E3}" dt="2021-10-21T07:38:10.777" v="0" actId="27918"/>
      <pc:docMkLst>
        <pc:docMk/>
      </pc:docMkLst>
      <pc:sldChg chg="mod">
        <pc:chgData name="Meyer Raphael (PAR-ES)" userId="79615dfe-ed48-4e74-a40f-4f7b034c1c27" providerId="ADAL" clId="{97A640CE-C770-49C4-B5FE-7745D283A7E3}" dt="2021-10-21T07:38:10.777" v="0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FCCE55FE-14A3-4665-9FBE-1E216319A24F}"/>
    <pc:docChg chg="undo custSel addSld delSld modSld sldOrd">
      <pc:chgData name="Meyer Raphael (PAR-ES)" userId="79615dfe-ed48-4e74-a40f-4f7b034c1c27" providerId="ADAL" clId="{FCCE55FE-14A3-4665-9FBE-1E216319A24F}" dt="2021-01-28T09:05:36.669" v="347" actId="2696"/>
      <pc:docMkLst>
        <pc:docMk/>
      </pc:docMkLst>
      <pc:sldChg chg="modSp mod">
        <pc:chgData name="Meyer Raphael (PAR-ES)" userId="79615dfe-ed48-4e74-a40f-4f7b034c1c27" providerId="ADAL" clId="{FCCE55FE-14A3-4665-9FBE-1E216319A24F}" dt="2021-01-28T09:04:46.463" v="342" actId="1035"/>
        <pc:sldMkLst>
          <pc:docMk/>
          <pc:sldMk cId="1667945532" sldId="306"/>
        </pc:sldMkLst>
        <pc:spChg chg="mod">
          <ac:chgData name="Meyer Raphael (PAR-ES)" userId="79615dfe-ed48-4e74-a40f-4f7b034c1c27" providerId="ADAL" clId="{FCCE55FE-14A3-4665-9FBE-1E216319A24F}" dt="2021-01-28T09:04:46.463" v="342" actId="1035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FCCE55FE-14A3-4665-9FBE-1E216319A24F}" dt="2021-01-28T08:59:37.577" v="6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FCCE55FE-14A3-4665-9FBE-1E216319A24F}" dt="2021-01-28T08:57:58.640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FCCE55FE-14A3-4665-9FBE-1E216319A24F}" dt="2021-01-28T08:53:47.872" v="2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FCCE55FE-14A3-4665-9FBE-1E216319A24F}" dt="2021-01-28T08:55:56.366" v="4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FCCE55FE-14A3-4665-9FBE-1E216319A24F}" dt="2021-01-28T09:04:46.463" v="342" actId="1035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FCCE55FE-14A3-4665-9FBE-1E216319A24F}" dt="2021-01-28T08:59:05.981" v="65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FCCE55FE-14A3-4665-9FBE-1E216319A24F}" dt="2021-01-28T08:58:16.300" v="62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 del">
        <pc:chgData name="Meyer Raphael (PAR-ES)" userId="79615dfe-ed48-4e74-a40f-4f7b034c1c27" providerId="ADAL" clId="{FCCE55FE-14A3-4665-9FBE-1E216319A24F}" dt="2021-01-28T09:05:36.669" v="347" actId="2696"/>
        <pc:sldMkLst>
          <pc:docMk/>
          <pc:sldMk cId="1323358563" sldId="321"/>
        </pc:sldMkLst>
      </pc:sldChg>
      <pc:sldChg chg="del">
        <pc:chgData name="Meyer Raphael (PAR-ES)" userId="79615dfe-ed48-4e74-a40f-4f7b034c1c27" providerId="ADAL" clId="{FCCE55FE-14A3-4665-9FBE-1E216319A24F}" dt="2021-01-28T09:02:20.071" v="157" actId="2696"/>
        <pc:sldMkLst>
          <pc:docMk/>
          <pc:sldMk cId="3034369345" sldId="322"/>
        </pc:sldMkLst>
      </pc:sldChg>
      <pc:sldChg chg="addSp delSp modSp add ord">
        <pc:chgData name="Meyer Raphael (PAR-ES)" userId="79615dfe-ed48-4e74-a40f-4f7b034c1c27" providerId="ADAL" clId="{FCCE55FE-14A3-4665-9FBE-1E216319A24F}" dt="2021-01-28T09:01:47.358" v="156" actId="1035"/>
        <pc:sldMkLst>
          <pc:docMk/>
          <pc:sldMk cId="3848357479" sldId="323"/>
        </pc:sldMkLst>
        <pc:spChg chg="mod">
          <ac:chgData name="Meyer Raphael (PAR-ES)" userId="79615dfe-ed48-4e74-a40f-4f7b034c1c27" providerId="ADAL" clId="{FCCE55FE-14A3-4665-9FBE-1E216319A24F}" dt="2021-01-28T09:00:44.070" v="74"/>
          <ac:spMkLst>
            <pc:docMk/>
            <pc:sldMk cId="3848357479" sldId="32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1:47.358" v="156" actId="1035"/>
          <ac:spMkLst>
            <pc:docMk/>
            <pc:sldMk cId="3848357479" sldId="32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FCCE55FE-14A3-4665-9FBE-1E216319A24F}" dt="2021-01-28T09:00:54.584" v="75"/>
          <ac:spMkLst>
            <pc:docMk/>
            <pc:sldMk cId="3848357479" sldId="32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0:09.691" v="72" actId="478"/>
          <ac:spMkLst>
            <pc:docMk/>
            <pc:sldMk cId="3848357479" sldId="32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1:08.027" v="76"/>
          <ac:spMkLst>
            <pc:docMk/>
            <pc:sldMk cId="3848357479" sldId="32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6" creationId="{BFF15B23-AB44-47AB-8052-431C3C4CD8A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8" creationId="{9266321F-423D-4DBA-8E57-4CE551E1E4A5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39" creationId="{A51C9C0C-B247-4AC7-99DE-530912CCA3B7}"/>
          </ac:spMkLst>
        </pc:spChg>
        <pc:spChg chg="add">
          <ac:chgData name="Meyer Raphael (PAR-ES)" userId="79615dfe-ed48-4e74-a40f-4f7b034c1c27" providerId="ADAL" clId="{FCCE55FE-14A3-4665-9FBE-1E216319A24F}" dt="2021-01-28T09:00:26.701" v="73"/>
          <ac:spMkLst>
            <pc:docMk/>
            <pc:sldMk cId="3848357479" sldId="323"/>
            <ac:spMk id="40" creationId="{EE48FF54-999A-42C7-BCBB-33CBB7272268}"/>
          </ac:spMkLst>
        </pc:spChg>
        <pc:cxnChg chg="mod">
          <ac:chgData name="Meyer Raphael (PAR-ES)" userId="79615dfe-ed48-4e74-a40f-4f7b034c1c27" providerId="ADAL" clId="{FCCE55FE-14A3-4665-9FBE-1E216319A24F}" dt="2021-01-28T09:01:47.358" v="156" actId="1035"/>
          <ac:cxnSpMkLst>
            <pc:docMk/>
            <pc:sldMk cId="3848357479" sldId="323"/>
            <ac:cxnSpMk id="20" creationId="{07FCC63F-5E2F-43DF-84ED-5FFEC92A0042}"/>
          </ac:cxnSpMkLst>
        </pc:cxnChg>
      </pc:sldChg>
      <pc:sldChg chg="addSp delSp modSp add ord">
        <pc:chgData name="Meyer Raphael (PAR-ES)" userId="79615dfe-ed48-4e74-a40f-4f7b034c1c27" providerId="ADAL" clId="{FCCE55FE-14A3-4665-9FBE-1E216319A24F}" dt="2021-01-28T09:05:33.171" v="346"/>
        <pc:sldMkLst>
          <pc:docMk/>
          <pc:sldMk cId="2334667298" sldId="324"/>
        </pc:sldMkLst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FCCE55FE-14A3-4665-9FBE-1E216319A24F}" dt="2021-01-28T09:03:14.803" v="162" actId="478"/>
          <ac:spMkLst>
            <pc:docMk/>
            <pc:sldMk cId="2334667298" sldId="324"/>
            <ac:spMk id="6" creationId="{6B391366-7911-4AAE-BBA8-ABC5F881FB2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FCCE55FE-14A3-4665-9FBE-1E216319A24F}" dt="2021-01-28T09:03:40.767" v="260" actId="1036"/>
          <ac:spMkLst>
            <pc:docMk/>
            <pc:sldMk cId="2334667298" sldId="324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9" creationId="{B6990B61-32B2-4ADC-BF01-EDF7B4080F9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FCCE55FE-14A3-4665-9FBE-1E216319A24F}" dt="2021-01-28T09:02:37.941" v="158" actId="478"/>
          <ac:spMkLst>
            <pc:docMk/>
            <pc:sldMk cId="2334667298" sldId="324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FCCE55FE-14A3-4665-9FBE-1E216319A24F}" dt="2021-01-28T09:04:05.953" v="262" actId="14100"/>
          <ac:spMkLst>
            <pc:docMk/>
            <pc:sldMk cId="2334667298" sldId="324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FCCE55FE-14A3-4665-9FBE-1E216319A24F}" dt="2021-01-28T09:03:05.472" v="161" actId="1076"/>
          <ac:spMkLst>
            <pc:docMk/>
            <pc:sldMk cId="2334667298" sldId="324"/>
            <ac:spMk id="36" creationId="{950DB72D-9690-4F18-9D02-139206AB86C6}"/>
          </ac:spMkLst>
        </pc:spChg>
        <pc:spChg chg="del">
          <ac:chgData name="Meyer Raphael (PAR-ES)" userId="79615dfe-ed48-4e74-a40f-4f7b034c1c27" providerId="ADAL" clId="{FCCE55FE-14A3-4665-9FBE-1E216319A24F}" dt="2021-01-28T09:05:24.971" v="345" actId="478"/>
          <ac:spMkLst>
            <pc:docMk/>
            <pc:sldMk cId="2334667298" sldId="324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8" creationId="{35F43C1E-6492-479A-A9E7-DF1579655FFF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39" creationId="{9978E878-0C04-4574-A52F-5CCE14AEBD59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0" creationId="{8EEF5790-079B-40AF-B68B-2A4EFADE916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1" creationId="{A42EC389-4898-4B1D-9014-2539AD5F743A}"/>
          </ac:spMkLst>
        </pc:spChg>
        <pc:spChg chg="add">
          <ac:chgData name="Meyer Raphael (PAR-ES)" userId="79615dfe-ed48-4e74-a40f-4f7b034c1c27" providerId="ADAL" clId="{FCCE55FE-14A3-4665-9FBE-1E216319A24F}" dt="2021-01-28T09:02:54.724" v="159"/>
          <ac:spMkLst>
            <pc:docMk/>
            <pc:sldMk cId="2334667298" sldId="324"/>
            <ac:spMk id="42" creationId="{FFBE3577-E016-4C76-B39F-F955282882DB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3" creationId="{BAFC0A69-8B7C-4265-A3B1-7A731AF525E9}"/>
          </ac:spMkLst>
        </pc:spChg>
        <pc:spChg chg="add">
          <ac:chgData name="Meyer Raphael (PAR-ES)" userId="79615dfe-ed48-4e74-a40f-4f7b034c1c27" providerId="ADAL" clId="{FCCE55FE-14A3-4665-9FBE-1E216319A24F}" dt="2021-01-28T09:05:33.171" v="346"/>
          <ac:spMkLst>
            <pc:docMk/>
            <pc:sldMk cId="2334667298" sldId="324"/>
            <ac:spMk id="44" creationId="{973ED86E-5911-4952-AD22-BE24588B6438}"/>
          </ac:spMkLst>
        </pc:spChg>
        <pc:cxnChg chg="mod">
          <ac:chgData name="Meyer Raphael (PAR-ES)" userId="79615dfe-ed48-4e74-a40f-4f7b034c1c27" providerId="ADAL" clId="{FCCE55FE-14A3-4665-9FBE-1E216319A24F}" dt="2021-01-28T09:03:40.767" v="260" actId="1036"/>
          <ac:cxnSpMkLst>
            <pc:docMk/>
            <pc:sldMk cId="2334667298" sldId="324"/>
            <ac:cxnSpMk id="20" creationId="{07FCC63F-5E2F-43DF-84ED-5FFEC92A0042}"/>
          </ac:cxnSpMkLst>
        </pc:cxnChg>
      </pc:sldChg>
    </pc:docChg>
  </pc:docChgLst>
  <pc:docChgLst>
    <pc:chgData name="Meyer Raphael (PAR-ES)" userId="79615dfe-ed48-4e74-a40f-4f7b034c1c27" providerId="ADAL" clId="{8E3065C6-688C-4D24-91D1-E651705B75CE}"/>
    <pc:docChg chg="custSel addSld delSld modSld sldOrd">
      <pc:chgData name="Meyer Raphael (PAR-ES)" userId="79615dfe-ed48-4e74-a40f-4f7b034c1c27" providerId="ADAL" clId="{8E3065C6-688C-4D24-91D1-E651705B75CE}" dt="2021-03-18T08:06:31.939" v="95" actId="2696"/>
      <pc:docMkLst>
        <pc:docMk/>
      </pc:docMkLst>
      <pc:sldChg chg="modSp mod">
        <pc:chgData name="Meyer Raphael (PAR-ES)" userId="79615dfe-ed48-4e74-a40f-4f7b034c1c27" providerId="ADAL" clId="{8E3065C6-688C-4D24-91D1-E651705B75CE}" dt="2021-03-18T07:57:28.778" v="7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8E3065C6-688C-4D24-91D1-E651705B75CE}" dt="2021-03-18T07:51:20.087" v="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E3065C6-688C-4D24-91D1-E651705B75CE}" dt="2021-03-18T07:51:50.182" v="19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E3065C6-688C-4D24-91D1-E651705B75CE}" dt="2021-03-18T07:57:28.778" v="7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E3065C6-688C-4D24-91D1-E651705B75CE}" dt="2021-03-18T07:52:08.936" v="2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E3065C6-688C-4D24-91D1-E651705B75CE}" dt="2021-03-18T07:54:36.827" v="47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8E3065C6-688C-4D24-91D1-E651705B75CE}" dt="2021-03-18T07:54:30.843" v="46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8E3065C6-688C-4D24-91D1-E651705B75CE}" dt="2021-03-18T07:54:41.307" v="48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E3065C6-688C-4D24-91D1-E651705B75CE}" dt="2021-03-18T07:57:07.614" v="67" actId="14100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E3065C6-688C-4D24-91D1-E651705B75CE}" dt="2021-03-18T08:04:43.037" v="82" actId="2696"/>
        <pc:sldMkLst>
          <pc:docMk/>
          <pc:sldMk cId="3843819818" sldId="336"/>
        </pc:sldMkLst>
      </pc:sldChg>
      <pc:sldChg chg="del">
        <pc:chgData name="Meyer Raphael (PAR-ES)" userId="79615dfe-ed48-4e74-a40f-4f7b034c1c27" providerId="ADAL" clId="{8E3065C6-688C-4D24-91D1-E651705B75CE}" dt="2021-03-18T08:06:31.939" v="95" actId="2696"/>
        <pc:sldMkLst>
          <pc:docMk/>
          <pc:sldMk cId="912098357" sldId="337"/>
        </pc:sldMkLst>
      </pc:sldChg>
      <pc:sldChg chg="addSp delSp modSp add ord">
        <pc:chgData name="Meyer Raphael (PAR-ES)" userId="79615dfe-ed48-4e74-a40f-4f7b034c1c27" providerId="ADAL" clId="{8E3065C6-688C-4D24-91D1-E651705B75CE}" dt="2021-03-18T08:04:20.982" v="81"/>
        <pc:sldMkLst>
          <pc:docMk/>
          <pc:sldMk cId="1452322066" sldId="338"/>
        </pc:sldMkLst>
        <pc:spChg chg="mod">
          <ac:chgData name="Meyer Raphael (PAR-ES)" userId="79615dfe-ed48-4e74-a40f-4f7b034c1c27" providerId="ADAL" clId="{8E3065C6-688C-4D24-91D1-E651705B75CE}" dt="2021-03-18T08:03:52.400" v="77"/>
          <ac:spMkLst>
            <pc:docMk/>
            <pc:sldMk cId="1452322066" sldId="33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4:08.236" v="80" actId="14100"/>
          <ac:spMkLst>
            <pc:docMk/>
            <pc:sldMk cId="1452322066" sldId="33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4:00.224" v="78"/>
          <ac:spMkLst>
            <pc:docMk/>
            <pc:sldMk cId="1452322066" sldId="33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23" creationId="{FB04E3DC-7438-4463-B235-8E2A0AF38BE6}"/>
          </ac:spMkLst>
        </pc:spChg>
        <pc:spChg chg="del">
          <ac:chgData name="Meyer Raphael (PAR-ES)" userId="79615dfe-ed48-4e74-a40f-4f7b034c1c27" providerId="ADAL" clId="{8E3065C6-688C-4D24-91D1-E651705B75CE}" dt="2021-03-18T08:03:27.666" v="75" actId="478"/>
          <ac:spMkLst>
            <pc:docMk/>
            <pc:sldMk cId="1452322066" sldId="33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4:20.982" v="81"/>
          <ac:spMkLst>
            <pc:docMk/>
            <pc:sldMk cId="1452322066" sldId="338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3" creationId="{4FB5518D-9657-460B-9C93-BA69794FB1D8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6" creationId="{4E7A10F7-ADD0-4192-BDEE-2910EBDC9EC7}"/>
          </ac:spMkLst>
        </pc:spChg>
        <pc:spChg chg="add">
          <ac:chgData name="Meyer Raphael (PAR-ES)" userId="79615dfe-ed48-4e74-a40f-4f7b034c1c27" providerId="ADAL" clId="{8E3065C6-688C-4D24-91D1-E651705B75CE}" dt="2021-03-18T08:03:39.063" v="76"/>
          <ac:spMkLst>
            <pc:docMk/>
            <pc:sldMk cId="1452322066" sldId="338"/>
            <ac:spMk id="37" creationId="{DCF5F9E4-69A8-4972-8D55-015B468ACB00}"/>
          </ac:spMkLst>
        </pc:spChg>
      </pc:sldChg>
      <pc:sldChg chg="addSp delSp modSp add ord">
        <pc:chgData name="Meyer Raphael (PAR-ES)" userId="79615dfe-ed48-4e74-a40f-4f7b034c1c27" providerId="ADAL" clId="{8E3065C6-688C-4D24-91D1-E651705B75CE}" dt="2021-03-18T08:06:22.212" v="94" actId="14100"/>
        <pc:sldMkLst>
          <pc:docMk/>
          <pc:sldMk cId="4038211066" sldId="339"/>
        </pc:sldMkLst>
        <pc:spChg chg="mod">
          <ac:chgData name="Meyer Raphael (PAR-ES)" userId="79615dfe-ed48-4e74-a40f-4f7b034c1c27" providerId="ADAL" clId="{8E3065C6-688C-4D24-91D1-E651705B75CE}" dt="2021-03-18T08:05:57.263" v="91"/>
          <ac:spMkLst>
            <pc:docMk/>
            <pc:sldMk cId="4038211066" sldId="33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E3065C6-688C-4D24-91D1-E651705B75CE}" dt="2021-03-18T08:05:50.241" v="90" actId="1037"/>
          <ac:spMkLst>
            <pc:docMk/>
            <pc:sldMk cId="4038211066" sldId="33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E3065C6-688C-4D24-91D1-E651705B75CE}" dt="2021-03-18T08:06:07.535" v="92"/>
          <ac:spMkLst>
            <pc:docMk/>
            <pc:sldMk cId="4038211066" sldId="33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23" creationId="{F2F2A770-A200-47CC-92E3-0BA2AFF11A97}"/>
          </ac:spMkLst>
        </pc:spChg>
        <pc:spChg chg="del">
          <ac:chgData name="Meyer Raphael (PAR-ES)" userId="79615dfe-ed48-4e74-a40f-4f7b034c1c27" providerId="ADAL" clId="{8E3065C6-688C-4D24-91D1-E651705B75CE}" dt="2021-03-18T08:05:09.058" v="83" actId="478"/>
          <ac:spMkLst>
            <pc:docMk/>
            <pc:sldMk cId="4038211066" sldId="33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E3065C6-688C-4D24-91D1-E651705B75CE}" dt="2021-03-18T08:06:22.212" v="94" actId="14100"/>
          <ac:spMkLst>
            <pc:docMk/>
            <pc:sldMk cId="4038211066" sldId="339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3" creationId="{9D5DBEF2-2A64-4C44-9C60-54A042D75AC5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6" creationId="{723E6BD9-9972-4E81-A4AE-CE14DD212830}"/>
          </ac:spMkLst>
        </pc:spChg>
        <pc:spChg chg="add">
          <ac:chgData name="Meyer Raphael (PAR-ES)" userId="79615dfe-ed48-4e74-a40f-4f7b034c1c27" providerId="ADAL" clId="{8E3065C6-688C-4D24-91D1-E651705B75CE}" dt="2021-03-18T08:05:23.657" v="84"/>
          <ac:spMkLst>
            <pc:docMk/>
            <pc:sldMk cId="4038211066" sldId="339"/>
            <ac:spMk id="37" creationId="{EC58DB2B-ADD7-4EA0-A871-C40C1066CAC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8" creationId="{37C7CA09-8CF2-487D-832C-0DFEC74B6039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39" creationId="{43E8029D-D8B8-4F0A-82B5-B8FECDEEC35A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0" creationId="{1555079F-8643-4274-9A97-9C5135FFEDDB}"/>
          </ac:spMkLst>
        </pc:spChg>
        <pc:spChg chg="add del">
          <ac:chgData name="Meyer Raphael (PAR-ES)" userId="79615dfe-ed48-4e74-a40f-4f7b034c1c27" providerId="ADAL" clId="{8E3065C6-688C-4D24-91D1-E651705B75CE}" dt="2021-03-18T08:05:35.513" v="86"/>
          <ac:spMkLst>
            <pc:docMk/>
            <pc:sldMk cId="4038211066" sldId="339"/>
            <ac:spMk id="41" creationId="{55920D09-756C-4CA5-8D5E-0BF180A5704A}"/>
          </ac:spMkLst>
        </pc:spChg>
      </pc:sldChg>
    </pc:docChg>
  </pc:docChgLst>
  <pc:docChgLst>
    <pc:chgData name="Meyer Raphael (PAR-ES)" userId="79615dfe-ed48-4e74-a40f-4f7b034c1c27" providerId="ADAL" clId="{9F9B9FD7-0640-47D8-8A6F-A51C9AF6C79B}"/>
    <pc:docChg chg="undo custSel modSld">
      <pc:chgData name="Meyer Raphael (PAR-ES)" userId="79615dfe-ed48-4e74-a40f-4f7b034c1c27" providerId="ADAL" clId="{9F9B9FD7-0640-47D8-8A6F-A51C9AF6C79B}" dt="2022-02-21T10:33:15.684" v="375" actId="478"/>
      <pc:docMkLst>
        <pc:docMk/>
      </pc:docMkLst>
      <pc:sldChg chg="modSp mod">
        <pc:chgData name="Meyer Raphael (PAR-ES)" userId="79615dfe-ed48-4e74-a40f-4f7b034c1c27" providerId="ADAL" clId="{9F9B9FD7-0640-47D8-8A6F-A51C9AF6C79B}" dt="2022-02-21T10:07:33.564" v="171" actId="1037"/>
        <pc:sldMkLst>
          <pc:docMk/>
          <pc:sldMk cId="1063731919" sldId="260"/>
        </pc:sldMkLst>
        <pc:graphicFrameChg chg="mod">
          <ac:chgData name="Meyer Raphael (PAR-ES)" userId="79615dfe-ed48-4e74-a40f-4f7b034c1c27" providerId="ADAL" clId="{9F9B9FD7-0640-47D8-8A6F-A51C9AF6C79B}" dt="2022-02-21T10:06:49.430" v="84" actId="1037"/>
          <ac:graphicFrameMkLst>
            <pc:docMk/>
            <pc:sldMk cId="1063731919" sldId="26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07:33.564" v="171" actId="1037"/>
          <ac:graphicFrameMkLst>
            <pc:docMk/>
            <pc:sldMk cId="1063731919" sldId="260"/>
            <ac:graphicFrameMk id="9" creationId="{CB25D658-4CAC-4D7D-8D2D-42B74A2C2DC7}"/>
          </ac:graphicFrameMkLst>
        </pc:graphicFrameChg>
      </pc:sldChg>
      <pc:sldChg chg="addSp delSp modSp mod">
        <pc:chgData name="Meyer Raphael (PAR-ES)" userId="79615dfe-ed48-4e74-a40f-4f7b034c1c27" providerId="ADAL" clId="{9F9B9FD7-0640-47D8-8A6F-A51C9AF6C79B}" dt="2022-02-21T10:33:15.684" v="375" actId="478"/>
        <pc:sldMkLst>
          <pc:docMk/>
          <pc:sldMk cId="57003221" sldId="400"/>
        </pc:sldMkLst>
        <pc:spChg chg="del">
          <ac:chgData name="Meyer Raphael (PAR-ES)" userId="79615dfe-ed48-4e74-a40f-4f7b034c1c27" providerId="ADAL" clId="{9F9B9FD7-0640-47D8-8A6F-A51C9AF6C79B}" dt="2022-02-21T10:03:43.466" v="8" actId="478"/>
          <ac:spMkLst>
            <pc:docMk/>
            <pc:sldMk cId="57003221" sldId="400"/>
            <ac:spMk id="2" creationId="{00000000-0000-0000-0000-000000000000}"/>
          </ac:spMkLst>
        </pc:spChg>
        <pc:spChg chg="del">
          <ac:chgData name="Meyer Raphael (PAR-ES)" userId="79615dfe-ed48-4e74-a40f-4f7b034c1c27" providerId="ADAL" clId="{9F9B9FD7-0640-47D8-8A6F-A51C9AF6C79B}" dt="2022-02-21T10:01:57.140" v="7" actId="478"/>
          <ac:spMkLst>
            <pc:docMk/>
            <pc:sldMk cId="57003221" sldId="400"/>
            <ac:spMk id="3" creationId="{00000000-0000-0000-0000-000000000000}"/>
          </ac:spMkLst>
        </pc:spChg>
        <pc:spChg chg="add del mod">
          <ac:chgData name="Meyer Raphael (PAR-ES)" userId="79615dfe-ed48-4e74-a40f-4f7b034c1c27" providerId="ADAL" clId="{9F9B9FD7-0640-47D8-8A6F-A51C9AF6C79B}" dt="2022-02-21T10:03:48.872" v="9" actId="478"/>
          <ac:spMkLst>
            <pc:docMk/>
            <pc:sldMk cId="57003221" sldId="400"/>
            <ac:spMk id="5" creationId="{018E3DA8-F096-483C-B893-9ADF9DD7914A}"/>
          </ac:spMkLst>
        </pc:spChg>
        <pc:spChg chg="add mod">
          <ac:chgData name="Meyer Raphael (PAR-ES)" userId="79615dfe-ed48-4e74-a40f-4f7b034c1c27" providerId="ADAL" clId="{9F9B9FD7-0640-47D8-8A6F-A51C9AF6C79B}" dt="2022-02-21T10:03:56.299" v="10"/>
          <ac:spMkLst>
            <pc:docMk/>
            <pc:sldMk cId="57003221" sldId="400"/>
            <ac:spMk id="10" creationId="{A424E1BC-05C2-425D-871B-AFDD25022AB3}"/>
          </ac:spMkLst>
        </pc:spChg>
        <pc:spChg chg="add del mod">
          <ac:chgData name="Meyer Raphael (PAR-ES)" userId="79615dfe-ed48-4e74-a40f-4f7b034c1c27" providerId="ADAL" clId="{9F9B9FD7-0640-47D8-8A6F-A51C9AF6C79B}" dt="2022-02-21T10:33:15.684" v="375" actId="478"/>
          <ac:spMkLst>
            <pc:docMk/>
            <pc:sldMk cId="57003221" sldId="400"/>
            <ac:spMk id="12" creationId="{897EB0E3-6369-4C40-949F-D3D8E1A672A1}"/>
          </ac:spMkLst>
        </pc:spChg>
        <pc:graphicFrameChg chg="mod">
          <ac:chgData name="Meyer Raphael (PAR-ES)" userId="79615dfe-ed48-4e74-a40f-4f7b034c1c27" providerId="ADAL" clId="{9F9B9FD7-0640-47D8-8A6F-A51C9AF6C79B}" dt="2022-02-21T10:31:34.881" v="371"/>
          <ac:graphicFrameMkLst>
            <pc:docMk/>
            <pc:sldMk cId="57003221" sldId="400"/>
            <ac:graphicFrameMk id="8" creationId="{9B23B171-CA74-4173-BBA6-57F61B8D6F91}"/>
          </ac:graphicFrameMkLst>
        </pc:graphicFrameChg>
        <pc:graphicFrameChg chg="mod">
          <ac:chgData name="Meyer Raphael (PAR-ES)" userId="79615dfe-ed48-4e74-a40f-4f7b034c1c27" providerId="ADAL" clId="{9F9B9FD7-0640-47D8-8A6F-A51C9AF6C79B}" dt="2022-02-21T10:32:14.166" v="373"/>
          <ac:graphicFrameMkLst>
            <pc:docMk/>
            <pc:sldMk cId="57003221" sldId="400"/>
            <ac:graphicFrameMk id="9" creationId="{CB25D658-4CAC-4D7D-8D2D-42B74A2C2DC7}"/>
          </ac:graphicFrameMkLst>
        </pc:graphicFrameChg>
        <pc:cxnChg chg="add del mod">
          <ac:chgData name="Meyer Raphael (PAR-ES)" userId="79615dfe-ed48-4e74-a40f-4f7b034c1c27" providerId="ADAL" clId="{9F9B9FD7-0640-47D8-8A6F-A51C9AF6C79B}" dt="2022-02-21T10:19:00.931" v="329" actId="478"/>
          <ac:cxnSpMkLst>
            <pc:docMk/>
            <pc:sldMk cId="57003221" sldId="400"/>
            <ac:cxnSpMk id="7" creationId="{E8574A02-7413-4262-9E26-4C4336B50560}"/>
          </ac:cxnSpMkLst>
        </pc:cxnChg>
        <pc:cxnChg chg="add del mod">
          <ac:chgData name="Meyer Raphael (PAR-ES)" userId="79615dfe-ed48-4e74-a40f-4f7b034c1c27" providerId="ADAL" clId="{9F9B9FD7-0640-47D8-8A6F-A51C9AF6C79B}" dt="2022-02-21T10:19:04.622" v="330" actId="478"/>
          <ac:cxnSpMkLst>
            <pc:docMk/>
            <pc:sldMk cId="57003221" sldId="400"/>
            <ac:cxnSpMk id="11" creationId="{3A487F58-E856-4C17-B264-8471BA9AC6DD}"/>
          </ac:cxnSpMkLst>
        </pc:cxnChg>
      </pc:sldChg>
    </pc:docChg>
  </pc:docChgLst>
  <pc:docChgLst>
    <pc:chgData name="Meyer Raphael (PAR-ES)" userId="79615dfe-ed48-4e74-a40f-4f7b034c1c27" providerId="ADAL" clId="{EEEC9DCC-828D-4267-AD50-3C9E36A34458}"/>
    <pc:docChg chg="delSld">
      <pc:chgData name="Meyer Raphael (PAR-ES)" userId="79615dfe-ed48-4e74-a40f-4f7b034c1c27" providerId="ADAL" clId="{EEEC9DCC-828D-4267-AD50-3C9E36A34458}" dt="2022-02-21T12:45:08.417" v="0" actId="47"/>
      <pc:docMkLst>
        <pc:docMk/>
      </pc:docMkLst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3613367002" sldId="402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91491486" sldId="403"/>
        </pc:sldMkLst>
      </pc:sldChg>
      <pc:sldChg chg="del">
        <pc:chgData name="Meyer Raphael (PAR-ES)" userId="79615dfe-ed48-4e74-a40f-4f7b034c1c27" providerId="ADAL" clId="{EEEC9DCC-828D-4267-AD50-3C9E36A34458}" dt="2022-02-21T12:45:08.417" v="0" actId="47"/>
        <pc:sldMkLst>
          <pc:docMk/>
          <pc:sldMk cId="246157559" sldId="405"/>
        </pc:sldMkLst>
      </pc:sldChg>
    </pc:docChg>
  </pc:docChgLst>
  <pc:docChgLst>
    <pc:chgData name="Weigel Stefan (PAR-EPS)" userId="fd3b2067-2981-4ad8-bf3a-d2e1004e4fa8" providerId="ADAL" clId="{F2046A88-33FD-4F24-8440-D623222832AC}"/>
    <pc:docChg chg="modSld">
      <pc:chgData name="Weigel Stefan (PAR-EPS)" userId="fd3b2067-2981-4ad8-bf3a-d2e1004e4fa8" providerId="ADAL" clId="{F2046A88-33FD-4F24-8440-D623222832AC}" dt="2025-02-22T10:58:15.085" v="28" actId="27918"/>
      <pc:docMkLst>
        <pc:docMk/>
      </pc:docMkLst>
      <pc:sldChg chg="modSp mod">
        <pc:chgData name="Weigel Stefan (PAR-EPS)" userId="fd3b2067-2981-4ad8-bf3a-d2e1004e4fa8" providerId="ADAL" clId="{F2046A88-33FD-4F24-8440-D623222832AC}" dt="2025-02-22T10:58:15.085" v="28" actId="27918"/>
        <pc:sldMkLst>
          <pc:docMk/>
          <pc:sldMk cId="3808035539" sldId="270"/>
        </pc:sldMkLst>
        <pc:spChg chg="mod">
          <ac:chgData name="Weigel Stefan (PAR-EPS)" userId="fd3b2067-2981-4ad8-bf3a-d2e1004e4fa8" providerId="ADAL" clId="{F2046A88-33FD-4F24-8440-D623222832AC}" dt="2025-02-13T14:18:16.527" v="1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F2046A88-33FD-4F24-8440-D623222832AC}" dt="2025-02-13T14:19:02.100" v="20" actId="20577"/>
          <ac:spMkLst>
            <pc:docMk/>
            <pc:sldMk cId="3808035539" sldId="270"/>
            <ac:spMk id="12" creationId="{5951AA1F-1F78-4199-A377-9885C86C21AF}"/>
          </ac:spMkLst>
        </pc:spChg>
      </pc:sldChg>
    </pc:docChg>
  </pc:docChgLst>
  <pc:docChgLst>
    <pc:chgData name="Meyer Raphael (PAR-ES)" userId="79615dfe-ed48-4e74-a40f-4f7b034c1c27" providerId="ADAL" clId="{6CDCDDB2-0951-42F4-B0FE-8E3F9123A7D6}"/>
    <pc:docChg chg="modSld">
      <pc:chgData name="Meyer Raphael (PAR-ES)" userId="79615dfe-ed48-4e74-a40f-4f7b034c1c27" providerId="ADAL" clId="{6CDCDDB2-0951-42F4-B0FE-8E3F9123A7D6}" dt="2021-09-17T07:29:35.011" v="94" actId="1038"/>
      <pc:docMkLst>
        <pc:docMk/>
      </pc:docMkLst>
      <pc:sldChg chg="modSp mod">
        <pc:chgData name="Meyer Raphael (PAR-ES)" userId="79615dfe-ed48-4e74-a40f-4f7b034c1c27" providerId="ADAL" clId="{6CDCDDB2-0951-42F4-B0FE-8E3F9123A7D6}" dt="2021-09-17T07:29:05.678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05.678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CDCDDB2-0951-42F4-B0FE-8E3F9123A7D6}" dt="2021-09-17T07:17:54.326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05.678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13.037" v="79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13.037" v="79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0.185" v="2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13.037" v="79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CDCDDB2-0951-42F4-B0FE-8E3F9123A7D6}" dt="2021-09-17T07:29:35.011" v="94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CDCDDB2-0951-42F4-B0FE-8E3F9123A7D6}" dt="2021-09-17T07:29:35.011" v="94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CDCDDB2-0951-42F4-B0FE-8E3F9123A7D6}" dt="2021-09-17T07:18:17.860" v="2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CDCDDB2-0951-42F4-B0FE-8E3F9123A7D6}" dt="2021-09-17T07:29:35.011" v="94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B3E5AB2-E155-4A4B-88C1-08DCD74E22AE}"/>
    <pc:docChg chg="custSel addSld delSld modSld">
      <pc:chgData name="Meyer Raphael (PAR-ES)" userId="79615dfe-ed48-4e74-a40f-4f7b034c1c27" providerId="ADAL" clId="{4B3E5AB2-E155-4A4B-88C1-08DCD74E22AE}" dt="2021-12-15T13:09:05.881" v="194"/>
      <pc:docMkLst>
        <pc:docMk/>
      </pc:docMkLst>
      <pc:sldChg chg="addSp delSp modSp add mod">
        <pc:chgData name="Meyer Raphael (PAR-ES)" userId="79615dfe-ed48-4e74-a40f-4f7b034c1c27" providerId="ADAL" clId="{4B3E5AB2-E155-4A4B-88C1-08DCD74E22AE}" dt="2021-12-15T13:09:05.881" v="194"/>
        <pc:sldMkLst>
          <pc:docMk/>
          <pc:sldMk cId="825719232" sldId="397"/>
        </pc:sldMkLst>
        <pc:spChg chg="mod">
          <ac:chgData name="Meyer Raphael (PAR-ES)" userId="79615dfe-ed48-4e74-a40f-4f7b034c1c27" providerId="ADAL" clId="{4B3E5AB2-E155-4A4B-88C1-08DCD74E22AE}" dt="2021-12-15T13:01:43.153" v="127" actId="20577"/>
          <ac:spMkLst>
            <pc:docMk/>
            <pc:sldMk cId="825719232" sldId="397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B3E5AB2-E155-4A4B-88C1-08DCD74E22AE}" dt="2021-12-15T13:02:22.223" v="180" actId="20577"/>
          <ac:spMkLst>
            <pc:docMk/>
            <pc:sldMk cId="825719232" sldId="397"/>
            <ac:spMk id="8" creationId="{41FD5CBC-8C89-4499-B28B-5EC68806F1EB}"/>
          </ac:spMkLst>
        </pc:spChg>
        <pc:graphicFrameChg chg="del">
          <ac:chgData name="Meyer Raphael (PAR-ES)" userId="79615dfe-ed48-4e74-a40f-4f7b034c1c27" providerId="ADAL" clId="{4B3E5AB2-E155-4A4B-88C1-08DCD74E22AE}" dt="2021-12-15T13:00:38.250" v="70" actId="478"/>
          <ac:graphicFrameMkLst>
            <pc:docMk/>
            <pc:sldMk cId="825719232" sldId="397"/>
            <ac:graphicFrameMk id="9" creationId="{00000000-0000-0000-0000-000000000000}"/>
          </ac:graphicFrameMkLst>
        </pc:graphicFrameChg>
        <pc:graphicFrameChg chg="add mod">
          <ac:chgData name="Meyer Raphael (PAR-ES)" userId="79615dfe-ed48-4e74-a40f-4f7b034c1c27" providerId="ADAL" clId="{4B3E5AB2-E155-4A4B-88C1-08DCD74E22AE}" dt="2021-12-15T13:09:05.881" v="194"/>
          <ac:graphicFrameMkLst>
            <pc:docMk/>
            <pc:sldMk cId="825719232" sldId="397"/>
            <ac:graphicFrameMk id="12" creationId="{00000000-0008-0000-0300-000002000000}"/>
          </ac:graphicFrameMkLst>
        </pc:graphicFrameChg>
      </pc:sldChg>
      <pc:sldChg chg="new del">
        <pc:chgData name="Meyer Raphael (PAR-ES)" userId="79615dfe-ed48-4e74-a40f-4f7b034c1c27" providerId="ADAL" clId="{4B3E5AB2-E155-4A4B-88C1-08DCD74E22AE}" dt="2021-12-15T12:59:03.696" v="1" actId="2696"/>
        <pc:sldMkLst>
          <pc:docMk/>
          <pc:sldMk cId="2200286678" sldId="397"/>
        </pc:sldMkLst>
      </pc:sldChg>
    </pc:docChg>
  </pc:docChgLst>
  <pc:docChgLst>
    <pc:chgData name="Meyer Raphael (PAR-ES)" userId="79615dfe-ed48-4e74-a40f-4f7b034c1c27" providerId="ADAL" clId="{5611DD64-5737-4F54-88D1-692C9E97FDFD}"/>
    <pc:docChg chg="modSld">
      <pc:chgData name="Meyer Raphael (PAR-ES)" userId="79615dfe-ed48-4e74-a40f-4f7b034c1c27" providerId="ADAL" clId="{5611DD64-5737-4F54-88D1-692C9E97FDFD}" dt="2021-10-18T14:39:40.002" v="27" actId="207"/>
      <pc:docMkLst>
        <pc:docMk/>
      </pc:docMkLst>
      <pc:sldChg chg="modSp mod">
        <pc:chgData name="Meyer Raphael (PAR-ES)" userId="79615dfe-ed48-4e74-a40f-4f7b034c1c27" providerId="ADAL" clId="{5611DD64-5737-4F54-88D1-692C9E97FDFD}" dt="2021-10-18T14:39:40.002" v="27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5611DD64-5737-4F54-88D1-692C9E97FDFD}" dt="2021-10-18T14:37:38.954" v="10" actId="20577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5611DD64-5737-4F54-88D1-692C9E97FDFD}" dt="2021-10-18T14:37:49.704" v="14" actId="20577"/>
          <ac:spMkLst>
            <pc:docMk/>
            <pc:sldMk cId="1537997412" sldId="373"/>
            <ac:spMk id="22" creationId="{B3F5B9B8-EDA8-430F-83AA-59E4DAA4DCA3}"/>
          </ac:spMkLst>
        </pc:spChg>
        <pc:graphicFrameChg chg="mod">
          <ac:chgData name="Meyer Raphael (PAR-ES)" userId="79615dfe-ed48-4e74-a40f-4f7b034c1c27" providerId="ADAL" clId="{5611DD64-5737-4F54-88D1-692C9E97FDFD}" dt="2021-10-18T14:39:40.002" v="27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A2DD61CA-6B95-4175-889D-19BB2C2B976E}"/>
    <pc:docChg chg="modSld">
      <pc:chgData name="Meyer Raphael (PAR-ES)" userId="79615dfe-ed48-4e74-a40f-4f7b034c1c27" providerId="ADAL" clId="{A2DD61CA-6B95-4175-889D-19BB2C2B976E}" dt="2021-09-24T07:09:23.522" v="89" actId="1037"/>
      <pc:docMkLst>
        <pc:docMk/>
      </pc:docMkLst>
      <pc:sldChg chg="modSp mod">
        <pc:chgData name="Meyer Raphael (PAR-ES)" userId="79615dfe-ed48-4e74-a40f-4f7b034c1c27" providerId="ADAL" clId="{A2DD61CA-6B95-4175-889D-19BB2C2B976E}" dt="2021-09-24T07:08:54.959" v="70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8:54.959" v="70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A2DD61CA-6B95-4175-889D-19BB2C2B976E}" dt="2021-09-24T06:57:21.433" v="22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8:54.959" v="70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Transition">
        <pc:chgData name="Meyer Raphael (PAR-ES)" userId="79615dfe-ed48-4e74-a40f-4f7b034c1c27" providerId="ADAL" clId="{A2DD61CA-6B95-4175-889D-19BB2C2B976E}" dt="2021-09-21T09:18:43.188" v="0"/>
        <pc:sldMkLst>
          <pc:docMk/>
          <pc:sldMk cId="3137099422" sldId="358"/>
        </pc:sldMkLst>
      </pc:sldChg>
      <pc:sldChg chg="modSp mod">
        <pc:chgData name="Meyer Raphael (PAR-ES)" userId="79615dfe-ed48-4e74-a40f-4f7b034c1c27" providerId="ADAL" clId="{A2DD61CA-6B95-4175-889D-19BB2C2B976E}" dt="2021-09-24T07:09:04.741" v="80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04.741" v="80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33.811" v="25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04.741" v="80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A2DD61CA-6B95-4175-889D-19BB2C2B976E}" dt="2021-09-24T07:09:23.522" v="8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2DD61CA-6B95-4175-889D-19BB2C2B976E}" dt="2021-09-24T07:09:23.522" v="8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A2DD61CA-6B95-4175-889D-19BB2C2B976E}" dt="2021-09-24T06:57:41.829" v="28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2DD61CA-6B95-4175-889D-19BB2C2B976E}" dt="2021-09-24T07:09:23.522" v="8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F3D56FD-03CF-408F-8B13-4C92A26822DE}"/>
    <pc:docChg chg="modSld">
      <pc:chgData name="Meyer Raphael (PAR-ES)" userId="79615dfe-ed48-4e74-a40f-4f7b034c1c27" providerId="ADAL" clId="{4F3D56FD-03CF-408F-8B13-4C92A26822DE}" dt="2021-08-27T09:01:32.964" v="100" actId="1038"/>
      <pc:docMkLst>
        <pc:docMk/>
      </pc:docMkLst>
      <pc:sldChg chg="modSp mod">
        <pc:chgData name="Meyer Raphael (PAR-ES)" userId="79615dfe-ed48-4e74-a40f-4f7b034c1c27" providerId="ADAL" clId="{4F3D56FD-03CF-408F-8B13-4C92A26822DE}" dt="2021-08-27T09:01:12.486" v="82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12.486" v="82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F3D56FD-03CF-408F-8B13-4C92A26822DE}" dt="2021-08-27T08:52:22.926" v="1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12.486" v="8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21.066" v="90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21.066" v="9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51.171" v="23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21.066" v="9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4F3D56FD-03CF-408F-8B13-4C92A26822DE}" dt="2021-08-27T09:01:32.964" v="100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F3D56FD-03CF-408F-8B13-4C92A26822DE}" dt="2021-08-27T09:01:32.964" v="100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F3D56FD-03CF-408F-8B13-4C92A26822DE}" dt="2021-08-27T08:52:46.229" v="21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F3D56FD-03CF-408F-8B13-4C92A26822DE}" dt="2021-08-27T09:01:32.964" v="100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CD636C40-63FB-40E8-86E9-5777E408B16F}"/>
    <pc:docChg chg="undo custSel addSld delSld modSld sldOrd">
      <pc:chgData name="Meyer Raphael (PAR-ES)" userId="79615dfe-ed48-4e74-a40f-4f7b034c1c27" providerId="ADAL" clId="{CD636C40-63FB-40E8-86E9-5777E408B16F}" dt="2021-02-11T08:20:50.692" v="109" actId="20577"/>
      <pc:docMkLst>
        <pc:docMk/>
      </pc:docMkLst>
      <pc:sldChg chg="addSp delSp modSp mod">
        <pc:chgData name="Meyer Raphael (PAR-ES)" userId="79615dfe-ed48-4e74-a40f-4f7b034c1c27" providerId="ADAL" clId="{CD636C40-63FB-40E8-86E9-5777E408B16F}" dt="2021-02-11T08:18:30.197" v="85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CD636C40-63FB-40E8-86E9-5777E408B16F}" dt="2021-02-11T08:09:18.237" v="20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D636C40-63FB-40E8-86E9-5777E408B16F}" dt="2021-02-11T08:09:50.711" v="2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D636C40-63FB-40E8-86E9-5777E408B16F}" dt="2021-02-11T08:09:58.975" v="26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CD636C40-63FB-40E8-86E9-5777E408B16F}" dt="2021-02-11T08:09:14.863" v="18" actId="1076"/>
          <ac:spMkLst>
            <pc:docMk/>
            <pc:sldMk cId="1667945532" sldId="306"/>
            <ac:spMk id="32" creationId="{E65DDA4F-7190-4D5B-B875-6818D18C9F6E}"/>
          </ac:spMkLst>
        </pc:spChg>
        <pc:spChg chg="del mod">
          <ac:chgData name="Meyer Raphael (PAR-ES)" userId="79615dfe-ed48-4e74-a40f-4f7b034c1c27" providerId="ADAL" clId="{CD636C40-63FB-40E8-86E9-5777E408B16F}" dt="2021-02-11T08:18:21.466" v="84" actId="478"/>
          <ac:spMkLst>
            <pc:docMk/>
            <pc:sldMk cId="1667945532" sldId="306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CD636C40-63FB-40E8-86E9-5777E408B16F}" dt="2021-02-11T08:18:30.197" v="85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CD636C40-63FB-40E8-86E9-5777E408B16F}" dt="2021-02-11T08:14:51.826" v="56" actId="2696"/>
        <pc:sldMkLst>
          <pc:docMk/>
          <pc:sldMk cId="3641903134" sldId="326"/>
        </pc:sldMkLst>
      </pc:sldChg>
      <pc:sldChg chg="del">
        <pc:chgData name="Meyer Raphael (PAR-ES)" userId="79615dfe-ed48-4e74-a40f-4f7b034c1c27" providerId="ADAL" clId="{CD636C40-63FB-40E8-86E9-5777E408B16F}" dt="2021-02-11T08:16:43.279" v="65" actId="2696"/>
        <pc:sldMkLst>
          <pc:docMk/>
          <pc:sldMk cId="3348111305" sldId="327"/>
        </pc:sldMkLst>
      </pc:sldChg>
      <pc:sldChg chg="addSp delSp modSp add ord">
        <pc:chgData name="Meyer Raphael (PAR-ES)" userId="79615dfe-ed48-4e74-a40f-4f7b034c1c27" providerId="ADAL" clId="{CD636C40-63FB-40E8-86E9-5777E408B16F}" dt="2021-02-11T08:18:55.947" v="87"/>
        <pc:sldMkLst>
          <pc:docMk/>
          <pc:sldMk cId="2900013276" sldId="328"/>
        </pc:sldMkLst>
        <pc:spChg chg="mod">
          <ac:chgData name="Meyer Raphael (PAR-ES)" userId="79615dfe-ed48-4e74-a40f-4f7b034c1c27" providerId="ADAL" clId="{CD636C40-63FB-40E8-86E9-5777E408B16F}" dt="2021-02-11T08:13:34.494" v="51"/>
          <ac:spMkLst>
            <pc:docMk/>
            <pc:sldMk cId="2900013276" sldId="32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4:20.855" v="54" actId="14100"/>
          <ac:spMkLst>
            <pc:docMk/>
            <pc:sldMk cId="2900013276" sldId="32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3:43.335" v="52"/>
          <ac:spMkLst>
            <pc:docMk/>
            <pc:sldMk cId="2900013276" sldId="32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3:09.291" v="49" actId="478"/>
          <ac:spMkLst>
            <pc:docMk/>
            <pc:sldMk cId="2900013276" sldId="32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4:31.578" v="55"/>
          <ac:spMkLst>
            <pc:docMk/>
            <pc:sldMk cId="2900013276" sldId="328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6" creationId="{9F620A94-48B3-4A32-8D02-8E0C7111D7C4}"/>
          </ac:spMkLst>
        </pc:spChg>
        <pc:spChg chg="del">
          <ac:chgData name="Meyer Raphael (PAR-ES)" userId="79615dfe-ed48-4e74-a40f-4f7b034c1c27" providerId="ADAL" clId="{CD636C40-63FB-40E8-86E9-5777E408B16F}" dt="2021-02-11T08:18:46.580" v="86" actId="478"/>
          <ac:spMkLst>
            <pc:docMk/>
            <pc:sldMk cId="2900013276" sldId="328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8" creationId="{7E0D9206-4F88-4FD5-A4E9-D4EE58655A73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39" creationId="{EBA33F06-F0C1-40E4-B0D3-3EF759D99492}"/>
          </ac:spMkLst>
        </pc:spChg>
        <pc:spChg chg="add">
          <ac:chgData name="Meyer Raphael (PAR-ES)" userId="79615dfe-ed48-4e74-a40f-4f7b034c1c27" providerId="ADAL" clId="{CD636C40-63FB-40E8-86E9-5777E408B16F}" dt="2021-02-11T08:13:21.654" v="50"/>
          <ac:spMkLst>
            <pc:docMk/>
            <pc:sldMk cId="2900013276" sldId="328"/>
            <ac:spMk id="40" creationId="{6951EDCC-BDC2-44B4-A0D5-81A9D2918899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1" creationId="{FF289EA6-3349-4669-8315-5B2140F42756}"/>
          </ac:spMkLst>
        </pc:spChg>
        <pc:spChg chg="add">
          <ac:chgData name="Meyer Raphael (PAR-ES)" userId="79615dfe-ed48-4e74-a40f-4f7b034c1c27" providerId="ADAL" clId="{CD636C40-63FB-40E8-86E9-5777E408B16F}" dt="2021-02-11T08:18:55.947" v="87"/>
          <ac:spMkLst>
            <pc:docMk/>
            <pc:sldMk cId="2900013276" sldId="328"/>
            <ac:spMk id="42" creationId="{E63861C7-D3B0-408F-823C-CD6D2C54C245}"/>
          </ac:spMkLst>
        </pc:spChg>
      </pc:sldChg>
      <pc:sldChg chg="addSp delSp modSp add ord">
        <pc:chgData name="Meyer Raphael (PAR-ES)" userId="79615dfe-ed48-4e74-a40f-4f7b034c1c27" providerId="ADAL" clId="{CD636C40-63FB-40E8-86E9-5777E408B16F}" dt="2021-02-11T08:20:50.692" v="109" actId="20577"/>
        <pc:sldMkLst>
          <pc:docMk/>
          <pc:sldMk cId="1718428447" sldId="329"/>
        </pc:sldMkLst>
        <pc:spChg chg="mod">
          <ac:chgData name="Meyer Raphael (PAR-ES)" userId="79615dfe-ed48-4e74-a40f-4f7b034c1c27" providerId="ADAL" clId="{CD636C40-63FB-40E8-86E9-5777E408B16F}" dt="2021-02-11T08:15:24.726" v="59"/>
          <ac:spMkLst>
            <pc:docMk/>
            <pc:sldMk cId="1718428447" sldId="32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CD636C40-63FB-40E8-86E9-5777E408B16F}" dt="2021-02-11T08:20:36.557" v="102" actId="20577"/>
          <ac:spMkLst>
            <pc:docMk/>
            <pc:sldMk cId="1718428447" sldId="329"/>
            <ac:spMk id="4" creationId="{FE424811-9A99-46D3-9443-AAB22DAEAB5A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D636C40-63FB-40E8-86E9-5777E408B16F}" dt="2021-02-11T08:15:44.225" v="62" actId="14100"/>
          <ac:spMkLst>
            <pc:docMk/>
            <pc:sldMk cId="1718428447" sldId="32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D636C40-63FB-40E8-86E9-5777E408B16F}" dt="2021-02-11T08:15:33.848" v="60"/>
          <ac:spMkLst>
            <pc:docMk/>
            <pc:sldMk cId="1718428447" sldId="32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CD636C40-63FB-40E8-86E9-5777E408B16F}" dt="2021-02-11T08:15:04.848" v="57" actId="478"/>
          <ac:spMkLst>
            <pc:docMk/>
            <pc:sldMk cId="1718428447" sldId="32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D636C40-63FB-40E8-86E9-5777E408B16F}" dt="2021-02-11T08:15:59.736" v="64" actId="14100"/>
          <ac:spMkLst>
            <pc:docMk/>
            <pc:sldMk cId="1718428447" sldId="329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CD636C40-63FB-40E8-86E9-5777E408B16F}" dt="2021-02-11T08:19:16.594" v="90" actId="478"/>
          <ac:spMkLst>
            <pc:docMk/>
            <pc:sldMk cId="1718428447" sldId="329"/>
            <ac:spMk id="33" creationId="{1263211D-7647-4ACE-B729-2338DF0FFB67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6" creationId="{17B621E9-2C02-4CFA-835E-85444E19539B}"/>
          </ac:spMkLst>
        </pc:spChg>
        <pc:spChg chg="del mod">
          <ac:chgData name="Meyer Raphael (PAR-ES)" userId="79615dfe-ed48-4e74-a40f-4f7b034c1c27" providerId="ADAL" clId="{CD636C40-63FB-40E8-86E9-5777E408B16F}" dt="2021-02-11T08:19:11.082" v="89" actId="478"/>
          <ac:spMkLst>
            <pc:docMk/>
            <pc:sldMk cId="1718428447" sldId="329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8" creationId="{A4460C9F-0999-4A0D-93FD-4A6F2822067A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39" creationId="{EF2F7D9D-41A1-4953-8842-4E33D1CFF182}"/>
          </ac:spMkLst>
        </pc:spChg>
        <pc:spChg chg="add">
          <ac:chgData name="Meyer Raphael (PAR-ES)" userId="79615dfe-ed48-4e74-a40f-4f7b034c1c27" providerId="ADAL" clId="{CD636C40-63FB-40E8-86E9-5777E408B16F}" dt="2021-02-11T08:15:15.432" v="58"/>
          <ac:spMkLst>
            <pc:docMk/>
            <pc:sldMk cId="1718428447" sldId="329"/>
            <ac:spMk id="40" creationId="{566DE827-96DF-4111-A359-BC47452AA72A}"/>
          </ac:spMkLst>
        </pc:spChg>
        <pc:spChg chg="add mod">
          <ac:chgData name="Meyer Raphael (PAR-ES)" userId="79615dfe-ed48-4e74-a40f-4f7b034c1c27" providerId="ADAL" clId="{CD636C40-63FB-40E8-86E9-5777E408B16F}" dt="2021-02-11T08:20:19.594" v="99" actId="20577"/>
          <ac:spMkLst>
            <pc:docMk/>
            <pc:sldMk cId="1718428447" sldId="329"/>
            <ac:spMk id="41" creationId="{03E86024-0847-4E13-9015-F5986F92E85E}"/>
          </ac:spMkLst>
        </pc:spChg>
        <pc:spChg chg="add mod">
          <ac:chgData name="Meyer Raphael (PAR-ES)" userId="79615dfe-ed48-4e74-a40f-4f7b034c1c27" providerId="ADAL" clId="{CD636C40-63FB-40E8-86E9-5777E408B16F}" dt="2021-02-11T08:20:50.692" v="109" actId="20577"/>
          <ac:spMkLst>
            <pc:docMk/>
            <pc:sldMk cId="1718428447" sldId="329"/>
            <ac:spMk id="42" creationId="{A9A88063-EB30-4637-B156-6887AD719DE3}"/>
          </ac:spMkLst>
        </pc:spChg>
      </pc:sldChg>
    </pc:docChg>
  </pc:docChgLst>
  <pc:docChgLst>
    <pc:chgData name="Meyer Raphael (PAR-ES)" userId="79615dfe-ed48-4e74-a40f-4f7b034c1c27" providerId="ADAL" clId="{87A7CCAC-0DF3-412D-A196-A928A3FA26F0}"/>
    <pc:docChg chg="modSld">
      <pc:chgData name="Meyer Raphael (PAR-ES)" userId="79615dfe-ed48-4e74-a40f-4f7b034c1c27" providerId="ADAL" clId="{87A7CCAC-0DF3-412D-A196-A928A3FA26F0}" dt="2021-10-13T13:14:33.241" v="3" actId="207"/>
      <pc:docMkLst>
        <pc:docMk/>
      </pc:docMkLst>
      <pc:sldChg chg="modSp">
        <pc:chgData name="Meyer Raphael (PAR-ES)" userId="79615dfe-ed48-4e74-a40f-4f7b034c1c27" providerId="ADAL" clId="{87A7CCAC-0DF3-412D-A196-A928A3FA26F0}" dt="2021-10-13T13:14:33.241" v="3" actId="207"/>
        <pc:sldMkLst>
          <pc:docMk/>
          <pc:sldMk cId="1537997412" sldId="373"/>
        </pc:sldMkLst>
        <pc:graphicFrameChg chg="mod">
          <ac:chgData name="Meyer Raphael (PAR-ES)" userId="79615dfe-ed48-4e74-a40f-4f7b034c1c27" providerId="ADAL" clId="{87A7CCAC-0DF3-412D-A196-A928A3FA26F0}" dt="2021-10-13T13:14:33.241" v="3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4CBE23F9-C8E6-4C37-B105-84FCD3DBA28A}"/>
    <pc:docChg chg="custSel addSld delSld modSld sldOrd">
      <pc:chgData name="Meyer Raphael (PAR-ES)" userId="79615dfe-ed48-4e74-a40f-4f7b034c1c27" providerId="ADAL" clId="{4CBE23F9-C8E6-4C37-B105-84FCD3DBA28A}" dt="2021-04-22T06:51:26.178" v="81" actId="2696"/>
      <pc:docMkLst>
        <pc:docMk/>
      </pc:docMkLst>
      <pc:sldChg chg="modSp mod">
        <pc:chgData name="Meyer Raphael (PAR-ES)" userId="79615dfe-ed48-4e74-a40f-4f7b034c1c27" providerId="ADAL" clId="{4CBE23F9-C8E6-4C37-B105-84FCD3DBA28A}" dt="2021-04-22T06:48:07.805" v="5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4CBE23F9-C8E6-4C37-B105-84FCD3DBA28A}" dt="2021-04-22T06:47:34.652" v="4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4CBE23F9-C8E6-4C37-B105-84FCD3DBA28A}" dt="2021-04-22T06:47:48.734" v="4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4CBE23F9-C8E6-4C37-B105-84FCD3DBA28A}" dt="2021-04-22T06:47:18.961" v="4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4CBE23F9-C8E6-4C37-B105-84FCD3DBA28A}" dt="2021-04-22T06:48:07.805" v="54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4CBE23F9-C8E6-4C37-B105-84FCD3DBA28A}" dt="2021-04-22T06:49:45.111" v="68" actId="2696"/>
        <pc:sldMkLst>
          <pc:docMk/>
          <pc:sldMk cId="3784104885" sldId="346"/>
        </pc:sldMkLst>
      </pc:sldChg>
      <pc:sldChg chg="del">
        <pc:chgData name="Meyer Raphael (PAR-ES)" userId="79615dfe-ed48-4e74-a40f-4f7b034c1c27" providerId="ADAL" clId="{4CBE23F9-C8E6-4C37-B105-84FCD3DBA28A}" dt="2021-04-22T06:51:26.178" v="81" actId="2696"/>
        <pc:sldMkLst>
          <pc:docMk/>
          <pc:sldMk cId="502819407" sldId="347"/>
        </pc:sldMkLst>
      </pc:sldChg>
      <pc:sldChg chg="addSp delSp modSp add mod ord">
        <pc:chgData name="Meyer Raphael (PAR-ES)" userId="79615dfe-ed48-4e74-a40f-4f7b034c1c27" providerId="ADAL" clId="{4CBE23F9-C8E6-4C37-B105-84FCD3DBA28A}" dt="2021-04-22T06:50:07.336" v="71"/>
        <pc:sldMkLst>
          <pc:docMk/>
          <pc:sldMk cId="3794750395" sldId="348"/>
        </pc:sldMkLst>
        <pc:spChg chg="mod">
          <ac:chgData name="Meyer Raphael (PAR-ES)" userId="79615dfe-ed48-4e74-a40f-4f7b034c1c27" providerId="ADAL" clId="{4CBE23F9-C8E6-4C37-B105-84FCD3DBA28A}" dt="2021-04-22T06:49:05.323" v="63"/>
          <ac:spMkLst>
            <pc:docMk/>
            <pc:sldMk cId="3794750395" sldId="348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49:23.982" v="66" actId="14100"/>
          <ac:spMkLst>
            <pc:docMk/>
            <pc:sldMk cId="3794750395" sldId="348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49:13.419" v="64"/>
          <ac:spMkLst>
            <pc:docMk/>
            <pc:sldMk cId="3794750395" sldId="34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1" creationId="{3FE6CB08-DCA1-458E-A8F3-DBCC83F762F4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2" creationId="{B414B5C7-1B5D-42D8-B234-E44D520961F2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3" creationId="{797933D9-1ADD-4C56-9A1F-5805185D5FB3}"/>
          </ac:spMkLst>
        </pc:spChg>
        <pc:spChg chg="add mod">
          <ac:chgData name="Meyer Raphael (PAR-ES)" userId="79615dfe-ed48-4e74-a40f-4f7b034c1c27" providerId="ADAL" clId="{4CBE23F9-C8E6-4C37-B105-84FCD3DBA28A}" dt="2021-04-22T06:48:55.252" v="62"/>
          <ac:spMkLst>
            <pc:docMk/>
            <pc:sldMk cId="3794750395" sldId="348"/>
            <ac:spMk id="25" creationId="{FC07B857-4CD8-4E21-A1D6-54E103DA2404}"/>
          </ac:spMkLst>
        </pc:spChg>
        <pc:spChg chg="del">
          <ac:chgData name="Meyer Raphael (PAR-ES)" userId="79615dfe-ed48-4e74-a40f-4f7b034c1c27" providerId="ADAL" clId="{4CBE23F9-C8E6-4C37-B105-84FCD3DBA28A}" dt="2021-04-22T06:48:42.423" v="61" actId="478"/>
          <ac:spMkLst>
            <pc:docMk/>
            <pc:sldMk cId="3794750395" sldId="34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49:35.849" v="67"/>
          <ac:spMkLst>
            <pc:docMk/>
            <pc:sldMk cId="3794750395" sldId="348"/>
            <ac:spMk id="27" creationId="{46A6B042-39EE-4A58-BBAA-13D52264B66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3" creationId="{57C51D98-9777-41F0-9E85-CBC2977C4FE0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6" creationId="{E4B5B6FE-D4FA-4D05-92AE-F94E7DD5EBEF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7" creationId="{1E8D3532-0AA1-4325-B895-B990AFFD34B7}"/>
          </ac:spMkLst>
        </pc:spChg>
        <pc:spChg chg="add del mod">
          <ac:chgData name="Meyer Raphael (PAR-ES)" userId="79615dfe-ed48-4e74-a40f-4f7b034c1c27" providerId="ADAL" clId="{4CBE23F9-C8E6-4C37-B105-84FCD3DBA28A}" dt="2021-04-22T06:50:07.336" v="71"/>
          <ac:spMkLst>
            <pc:docMk/>
            <pc:sldMk cId="3794750395" sldId="348"/>
            <ac:spMk id="38" creationId="{1B7488BE-69AD-45CF-81B3-201225A71794}"/>
          </ac:spMkLst>
        </pc:spChg>
      </pc:sldChg>
      <pc:sldChg chg="addSp delSp modSp add mod ord">
        <pc:chgData name="Meyer Raphael (PAR-ES)" userId="79615dfe-ed48-4e74-a40f-4f7b034c1c27" providerId="ADAL" clId="{4CBE23F9-C8E6-4C37-B105-84FCD3DBA28A}" dt="2021-04-22T06:51:16.738" v="80" actId="14100"/>
        <pc:sldMkLst>
          <pc:docMk/>
          <pc:sldMk cId="1552181785" sldId="349"/>
        </pc:sldMkLst>
        <pc:spChg chg="mod">
          <ac:chgData name="Meyer Raphael (PAR-ES)" userId="79615dfe-ed48-4e74-a40f-4f7b034c1c27" providerId="ADAL" clId="{4CBE23F9-C8E6-4C37-B105-84FCD3DBA28A}" dt="2021-04-22T06:50:20.183" v="73"/>
          <ac:spMkLst>
            <pc:docMk/>
            <pc:sldMk cId="1552181785" sldId="34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4CBE23F9-C8E6-4C37-B105-84FCD3DBA28A}" dt="2021-04-22T06:50:38.326" v="76" actId="14100"/>
          <ac:spMkLst>
            <pc:docMk/>
            <pc:sldMk cId="1552181785" sldId="34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4CBE23F9-C8E6-4C37-B105-84FCD3DBA28A}" dt="2021-04-22T06:50:28.829" v="74"/>
          <ac:spMkLst>
            <pc:docMk/>
            <pc:sldMk cId="1552181785" sldId="34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1" creationId="{420947D5-36E6-475F-9F30-99CD5F27038F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2" creationId="{0028B97E-602F-43F2-979D-8212934922D2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3" creationId="{3DDDADA2-02D8-4DAF-8382-3EA480520E90}"/>
          </ac:spMkLst>
        </pc:spChg>
        <pc:spChg chg="add mod">
          <ac:chgData name="Meyer Raphael (PAR-ES)" userId="79615dfe-ed48-4e74-a40f-4f7b034c1c27" providerId="ADAL" clId="{4CBE23F9-C8E6-4C37-B105-84FCD3DBA28A}" dt="2021-04-22T06:50:10.223" v="72"/>
          <ac:spMkLst>
            <pc:docMk/>
            <pc:sldMk cId="1552181785" sldId="349"/>
            <ac:spMk id="25" creationId="{25D8EC74-960F-49AE-A9A7-029FA6C0D220}"/>
          </ac:spMkLst>
        </pc:spChg>
        <pc:spChg chg="del">
          <ac:chgData name="Meyer Raphael (PAR-ES)" userId="79615dfe-ed48-4e74-a40f-4f7b034c1c27" providerId="ADAL" clId="{4CBE23F9-C8E6-4C37-B105-84FCD3DBA28A}" dt="2021-04-22T06:49:54.689" v="69" actId="478"/>
          <ac:spMkLst>
            <pc:docMk/>
            <pc:sldMk cId="1552181785" sldId="34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4CBE23F9-C8E6-4C37-B105-84FCD3DBA28A}" dt="2021-04-22T06:51:16.738" v="80" actId="14100"/>
          <ac:spMkLst>
            <pc:docMk/>
            <pc:sldMk cId="1552181785" sldId="349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C78E0DC-31C5-48CA-8DD7-8730871B0852}"/>
    <pc:docChg chg="custSel addSld delSld modSld sldOrd">
      <pc:chgData name="Meyer Raphael (PAR-ES)" userId="79615dfe-ed48-4e74-a40f-4f7b034c1c27" providerId="ADAL" clId="{BC78E0DC-31C5-48CA-8DD7-8730871B0852}" dt="2021-02-18T08:25:41.061" v="300" actId="2696"/>
      <pc:docMkLst>
        <pc:docMk/>
      </pc:docMkLst>
      <pc:sldChg chg="addSp delSp modSp mod">
        <pc:chgData name="Meyer Raphael (PAR-ES)" userId="79615dfe-ed48-4e74-a40f-4f7b034c1c27" providerId="ADAL" clId="{BC78E0DC-31C5-48CA-8DD7-8730871B0852}" dt="2021-02-18T08:17:57.668" v="166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BC78E0DC-31C5-48CA-8DD7-8730871B0852}" dt="2021-02-18T08:06:41.629" v="29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C78E0DC-31C5-48CA-8DD7-8730871B0852}" dt="2021-02-18T08:06:31.557" v="2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C78E0DC-31C5-48CA-8DD7-8730871B0852}" dt="2021-02-18T08:07:01.573" v="37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BC78E0DC-31C5-48CA-8DD7-8730871B0852}" dt="2021-02-18T08:03:49.592" v="3" actId="20577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BC78E0DC-31C5-48CA-8DD7-8730871B0852}" dt="2021-02-18T08:17:49.673" v="165" actId="478"/>
          <ac:spMkLst>
            <pc:docMk/>
            <pc:sldMk cId="1667945532" sldId="306"/>
            <ac:spMk id="36" creationId="{27098D61-DF6B-46BC-A4A9-43CB29665BFF}"/>
          </ac:spMkLst>
        </pc:spChg>
        <pc:spChg chg="mod">
          <ac:chgData name="Meyer Raphael (PAR-ES)" userId="79615dfe-ed48-4e74-a40f-4f7b034c1c27" providerId="ADAL" clId="{BC78E0DC-31C5-48CA-8DD7-8730871B0852}" dt="2021-02-18T08:17:57.668" v="166" actId="552"/>
          <ac:spMkLst>
            <pc:docMk/>
            <pc:sldMk cId="1667945532" sldId="306"/>
            <ac:spMk id="37" creationId="{16628D91-C37D-41C8-A84A-DDEB3E2C1246}"/>
          </ac:spMkLst>
        </pc:spChg>
      </pc:sldChg>
      <pc:sldChg chg="del">
        <pc:chgData name="Meyer Raphael (PAR-ES)" userId="79615dfe-ed48-4e74-a40f-4f7b034c1c27" providerId="ADAL" clId="{BC78E0DC-31C5-48CA-8DD7-8730871B0852}" dt="2021-02-18T08:20:14.623" v="178" actId="2696"/>
        <pc:sldMkLst>
          <pc:docMk/>
          <pc:sldMk cId="2900013276" sldId="328"/>
        </pc:sldMkLst>
      </pc:sldChg>
      <pc:sldChg chg="del">
        <pc:chgData name="Meyer Raphael (PAR-ES)" userId="79615dfe-ed48-4e74-a40f-4f7b034c1c27" providerId="ADAL" clId="{BC78E0DC-31C5-48CA-8DD7-8730871B0852}" dt="2021-02-18T08:25:41.061" v="300" actId="2696"/>
        <pc:sldMkLst>
          <pc:docMk/>
          <pc:sldMk cId="1718428447" sldId="329"/>
        </pc:sldMkLst>
      </pc:sldChg>
      <pc:sldChg chg="addSp delSp modSp add ord">
        <pc:chgData name="Meyer Raphael (PAR-ES)" userId="79615dfe-ed48-4e74-a40f-4f7b034c1c27" providerId="ADAL" clId="{BC78E0DC-31C5-48CA-8DD7-8730871B0852}" dt="2021-02-18T08:25:23.403" v="299" actId="552"/>
        <pc:sldMkLst>
          <pc:docMk/>
          <pc:sldMk cId="1861201491" sldId="330"/>
        </pc:sldMkLst>
        <pc:spChg chg="mod">
          <ac:chgData name="Meyer Raphael (PAR-ES)" userId="79615dfe-ed48-4e74-a40f-4f7b034c1c27" providerId="ADAL" clId="{BC78E0DC-31C5-48CA-8DD7-8730871B0852}" dt="2021-02-18T08:22:05.626" v="183"/>
          <ac:spMkLst>
            <pc:docMk/>
            <pc:sldMk cId="1861201491" sldId="33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22:14.714" v="184"/>
          <ac:spMkLst>
            <pc:docMk/>
            <pc:sldMk cId="1861201491" sldId="33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20:39.664" v="179" actId="478"/>
          <ac:spMkLst>
            <pc:docMk/>
            <pc:sldMk cId="1861201491" sldId="33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22:31" v="187" actId="14100"/>
          <ac:spMkLst>
            <pc:docMk/>
            <pc:sldMk cId="1861201491" sldId="330"/>
            <ac:spMk id="27" creationId="{46A6B042-39EE-4A58-BBAA-13D52264B660}"/>
          </ac:spMkLst>
        </pc:spChg>
        <pc:spChg chg="del">
          <ac:chgData name="Meyer Raphael (PAR-ES)" userId="79615dfe-ed48-4e74-a40f-4f7b034c1c27" providerId="ADAL" clId="{BC78E0DC-31C5-48CA-8DD7-8730871B0852}" dt="2021-02-18T08:22:51.188" v="190" actId="478"/>
          <ac:spMkLst>
            <pc:docMk/>
            <pc:sldMk cId="1861201491" sldId="330"/>
            <ac:spMk id="33" creationId="{9EBB3871-416B-408E-B57A-A89D014D2D8E}"/>
          </ac:spMkLst>
        </pc:spChg>
        <pc:spChg chg="add mod">
          <ac:chgData name="Meyer Raphael (PAR-ES)" userId="79615dfe-ed48-4e74-a40f-4f7b034c1c27" providerId="ADAL" clId="{BC78E0DC-31C5-48CA-8DD7-8730871B0852}" dt="2021-02-18T08:21:38.819" v="182" actId="20577"/>
          <ac:spMkLst>
            <pc:docMk/>
            <pc:sldMk cId="1861201491" sldId="330"/>
            <ac:spMk id="36" creationId="{019CCEBD-CCD0-4C25-BDBA-42ADD3F60BD3}"/>
          </ac:spMkLst>
        </pc:spChg>
        <pc:spChg chg="del mod">
          <ac:chgData name="Meyer Raphael (PAR-ES)" userId="79615dfe-ed48-4e74-a40f-4f7b034c1c27" providerId="ADAL" clId="{BC78E0DC-31C5-48CA-8DD7-8730871B0852}" dt="2021-02-18T08:22:43.318" v="189" actId="478"/>
          <ac:spMkLst>
            <pc:docMk/>
            <pc:sldMk cId="1861201491" sldId="330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8" creationId="{C5DEC9F0-DC62-47FE-AF70-FDC22F6CB4B6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39" creationId="{D8D03714-81C3-4A1C-A9F5-2F3F1D3D0572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0" creationId="{85FBCE1D-FD06-40AC-94DE-D4D7E9BE4B0C}"/>
          </ac:spMkLst>
        </pc:spChg>
        <pc:spChg chg="add">
          <ac:chgData name="Meyer Raphael (PAR-ES)" userId="79615dfe-ed48-4e74-a40f-4f7b034c1c27" providerId="ADAL" clId="{BC78E0DC-31C5-48CA-8DD7-8730871B0852}" dt="2021-02-18T08:20:52.427" v="180"/>
          <ac:spMkLst>
            <pc:docMk/>
            <pc:sldMk cId="1861201491" sldId="330"/>
            <ac:spMk id="41" creationId="{47044D9C-7715-40D4-BCAE-6828109D5DF0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2" creationId="{47F15649-8108-4CA2-903C-B78AA3E2D53B}"/>
          </ac:spMkLst>
        </pc:spChg>
        <pc:spChg chg="add del mod">
          <ac:chgData name="Meyer Raphael (PAR-ES)" userId="79615dfe-ed48-4e74-a40f-4f7b034c1c27" providerId="ADAL" clId="{BC78E0DC-31C5-48CA-8DD7-8730871B0852}" dt="2021-02-18T08:25:14.871" v="298" actId="478"/>
          <ac:spMkLst>
            <pc:docMk/>
            <pc:sldMk cId="1861201491" sldId="330"/>
            <ac:spMk id="43" creationId="{6B37B674-625E-4AC7-9F27-89CCF8DC86A4}"/>
          </ac:spMkLst>
        </pc:spChg>
        <pc:spChg chg="add mod">
          <ac:chgData name="Meyer Raphael (PAR-ES)" userId="79615dfe-ed48-4e74-a40f-4f7b034c1c27" providerId="ADAL" clId="{BC78E0DC-31C5-48CA-8DD7-8730871B0852}" dt="2021-02-18T08:25:23.403" v="299" actId="552"/>
          <ac:spMkLst>
            <pc:docMk/>
            <pc:sldMk cId="1861201491" sldId="330"/>
            <ac:spMk id="44" creationId="{E25DC2A8-79DA-4BEB-AEB2-0BD5A64FC759}"/>
          </ac:spMkLst>
        </pc:spChg>
      </pc:sldChg>
      <pc:sldChg chg="addSp delSp modSp add ord">
        <pc:chgData name="Meyer Raphael (PAR-ES)" userId="79615dfe-ed48-4e74-a40f-4f7b034c1c27" providerId="ADAL" clId="{BC78E0DC-31C5-48CA-8DD7-8730871B0852}" dt="2021-02-18T08:19:54.206" v="177" actId="20577"/>
        <pc:sldMkLst>
          <pc:docMk/>
          <pc:sldMk cId="1241728994" sldId="331"/>
        </pc:sldMkLst>
        <pc:spChg chg="mod">
          <ac:chgData name="Meyer Raphael (PAR-ES)" userId="79615dfe-ed48-4e74-a40f-4f7b034c1c27" providerId="ADAL" clId="{BC78E0DC-31C5-48CA-8DD7-8730871B0852}" dt="2021-02-18T08:19:18.217" v="173"/>
          <ac:spMkLst>
            <pc:docMk/>
            <pc:sldMk cId="1241728994" sldId="33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C78E0DC-31C5-48CA-8DD7-8730871B0852}" dt="2021-02-18T08:19:25.980" v="174"/>
          <ac:spMkLst>
            <pc:docMk/>
            <pc:sldMk cId="1241728994" sldId="33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BC78E0DC-31C5-48CA-8DD7-8730871B0852}" dt="2021-02-18T08:18:55.057" v="171" actId="478"/>
          <ac:spMkLst>
            <pc:docMk/>
            <pc:sldMk cId="1241728994" sldId="33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C78E0DC-31C5-48CA-8DD7-8730871B0852}" dt="2021-02-18T08:19:38.905" v="175"/>
          <ac:spMkLst>
            <pc:docMk/>
            <pc:sldMk cId="1241728994" sldId="331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BC78E0DC-31C5-48CA-8DD7-8730871B0852}" dt="2021-02-18T08:19:54.206" v="177" actId="20577"/>
          <ac:spMkLst>
            <pc:docMk/>
            <pc:sldMk cId="1241728994" sldId="331"/>
            <ac:spMk id="36" creationId="{33DFBF40-E028-4BE5-A8F8-3C3D31D9C419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8" creationId="{8D5C6F6D-7891-46C5-9EEE-AC4359F3878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39" creationId="{6DA8F198-5FE1-47D8-9BCF-4BD6AAC6B336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0" creationId="{9E456EF7-A6CB-4B58-AD31-BD9D25B969CC}"/>
          </ac:spMkLst>
        </pc:spChg>
        <pc:spChg chg="add">
          <ac:chgData name="Meyer Raphael (PAR-ES)" userId="79615dfe-ed48-4e74-a40f-4f7b034c1c27" providerId="ADAL" clId="{BC78E0DC-31C5-48CA-8DD7-8730871B0852}" dt="2021-02-18T08:19:08.053" v="172"/>
          <ac:spMkLst>
            <pc:docMk/>
            <pc:sldMk cId="1241728994" sldId="331"/>
            <ac:spMk id="41" creationId="{6908FED6-CF40-4DFE-AFA3-C40F851A8131}"/>
          </ac:spMkLst>
        </pc:spChg>
      </pc:sldChg>
    </pc:docChg>
  </pc:docChgLst>
  <pc:docChgLst>
    <pc:chgData name="Meyer Raphael (PAR-ES)" userId="79615dfe-ed48-4e74-a40f-4f7b034c1c27" providerId="ADAL" clId="{7F8D466B-DE03-4F86-BE8A-B275E5E71DB3}"/>
    <pc:docChg chg="modSld">
      <pc:chgData name="Meyer Raphael (PAR-ES)" userId="79615dfe-ed48-4e74-a40f-4f7b034c1c27" providerId="ADAL" clId="{7F8D466B-DE03-4F86-BE8A-B275E5E71DB3}" dt="2021-07-01T09:00:43.208" v="115" actId="1037"/>
      <pc:docMkLst>
        <pc:docMk/>
      </pc:docMkLst>
      <pc:sldChg chg="modSp mod">
        <pc:chgData name="Meyer Raphael (PAR-ES)" userId="79615dfe-ed48-4e74-a40f-4f7b034c1c27" providerId="ADAL" clId="{7F8D466B-DE03-4F86-BE8A-B275E5E71DB3}" dt="2021-07-01T08:57:17.709" v="6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8:57:02.041" v="5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7F8D466B-DE03-4F86-BE8A-B275E5E71DB3}" dt="2021-07-01T08:53:02.197" v="25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8:57:02.041" v="5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43.208" v="115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43.208" v="115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14.982" v="40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43.208" v="115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7F8D466B-DE03-4F86-BE8A-B275E5E71DB3}" dt="2021-07-01T09:00:22.168" v="99" actId="27918"/>
        <pc:sldMkLst>
          <pc:docMk/>
          <pc:sldMk cId="689864941" sldId="366"/>
        </pc:sldMkLst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7F8D466B-DE03-4F86-BE8A-B275E5E71DB3}" dt="2021-07-01T09:00:01.531" v="94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7F8D466B-DE03-4F86-BE8A-B275E5E71DB3}" dt="2021-07-01T08:56:21.124" v="41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7F8D466B-DE03-4F86-BE8A-B275E5E71DB3}" dt="2021-07-01T09:00:01.531" v="94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Keller Liliane (PAR-PS)" userId="1f10f474-4ab3-4505-9616-24ced11273de" providerId="ADAL" clId="{8486A8B0-9FE2-4E57-81C8-908DB08B0E52}"/>
    <pc:docChg chg="custSel modSld">
      <pc:chgData name="Keller Liliane (PAR-PS)" userId="1f10f474-4ab3-4505-9616-24ced11273de" providerId="ADAL" clId="{8486A8B0-9FE2-4E57-81C8-908DB08B0E52}" dt="2021-10-18T13:11:36.412" v="0" actId="21"/>
      <pc:docMkLst>
        <pc:docMk/>
      </pc:docMkLst>
      <pc:sldChg chg="delSp mod">
        <pc:chgData name="Keller Liliane (PAR-PS)" userId="1f10f474-4ab3-4505-9616-24ced11273de" providerId="ADAL" clId="{8486A8B0-9FE2-4E57-81C8-908DB08B0E52}" dt="2021-10-18T13:11:36.412" v="0" actId="21"/>
        <pc:sldMkLst>
          <pc:docMk/>
          <pc:sldMk cId="3759573184" sldId="375"/>
        </pc:sldMkLst>
        <pc:graphicFrameChg chg="del">
          <ac:chgData name="Keller Liliane (PAR-PS)" userId="1f10f474-4ab3-4505-9616-24ced11273de" providerId="ADAL" clId="{8486A8B0-9FE2-4E57-81C8-908DB08B0E52}" dt="2021-10-18T13:11:36.412" v="0" actId="21"/>
          <ac:graphicFrameMkLst>
            <pc:docMk/>
            <pc:sldMk cId="3759573184" sldId="375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F95B8E74-9B48-401B-9B68-CA0D4311E19D}"/>
    <pc:docChg chg="modSld">
      <pc:chgData name="Meyer Raphael (PAR-ES)" userId="79615dfe-ed48-4e74-a40f-4f7b034c1c27" providerId="ADAL" clId="{F95B8E74-9B48-401B-9B68-CA0D4311E19D}" dt="2021-10-08T06:58:14.939" v="58" actId="1038"/>
      <pc:docMkLst>
        <pc:docMk/>
      </pc:docMkLst>
      <pc:sldChg chg="modSp mod">
        <pc:chgData name="Meyer Raphael (PAR-ES)" userId="79615dfe-ed48-4e74-a40f-4f7b034c1c27" providerId="ADAL" clId="{F95B8E74-9B48-401B-9B68-CA0D4311E19D}" dt="2021-10-08T06:57:56.626" v="39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7:56.626" v="39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F95B8E74-9B48-401B-9B68-CA0D4311E19D}" dt="2021-10-08T06:56:49.876" v="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7:56.626" v="39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04.889" v="46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04.889" v="46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39.743" v="31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04.889" v="46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F95B8E74-9B48-401B-9B68-CA0D4311E19D}" dt="2021-10-08T06:58:14.939" v="58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F95B8E74-9B48-401B-9B68-CA0D4311E19D}" dt="2021-10-08T06:58:14.939" v="58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F95B8E74-9B48-401B-9B68-CA0D4311E19D}" dt="2021-10-08T06:57:44.737" v="32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F95B8E74-9B48-401B-9B68-CA0D4311E19D}" dt="2021-10-08T06:58:14.939" v="58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6B72B7AA-64CB-4034-BA81-E3658E7812A5}"/>
    <pc:docChg chg="undo custSel delSld modSld sldOrd">
      <pc:chgData name="Meyer Raphael (PAR-ES)" userId="79615dfe-ed48-4e74-a40f-4f7b034c1c27" providerId="ADAL" clId="{6B72B7AA-64CB-4034-BA81-E3658E7812A5}" dt="2021-10-14T12:06:17.552" v="415" actId="14100"/>
      <pc:docMkLst>
        <pc:docMk/>
      </pc:docMkLst>
      <pc:sldChg chg="ord">
        <pc:chgData name="Meyer Raphael (PAR-ES)" userId="79615dfe-ed48-4e74-a40f-4f7b034c1c27" providerId="ADAL" clId="{6B72B7AA-64CB-4034-BA81-E3658E7812A5}" dt="2021-10-14T09:02:17.036" v="275"/>
        <pc:sldMkLst>
          <pc:docMk/>
          <pc:sldMk cId="3462026173" sldId="370"/>
        </pc:sldMkLst>
      </pc:sldChg>
      <pc:sldChg chg="del ord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259040757" sldId="371"/>
        </pc:sldMkLst>
      </pc:sldChg>
      <pc:sldChg chg="del">
        <pc:chgData name="Meyer Raphael (PAR-ES)" userId="79615dfe-ed48-4e74-a40f-4f7b034c1c27" providerId="ADAL" clId="{6B72B7AA-64CB-4034-BA81-E3658E7812A5}" dt="2021-10-14T09:03:38.157" v="278" actId="47"/>
        <pc:sldMkLst>
          <pc:docMk/>
          <pc:sldMk cId="1661015866" sldId="372"/>
        </pc:sldMkLst>
      </pc:sldChg>
      <pc:sldChg chg="addSp delSp modSp mod">
        <pc:chgData name="Meyer Raphael (PAR-ES)" userId="79615dfe-ed48-4e74-a40f-4f7b034c1c27" providerId="ADAL" clId="{6B72B7AA-64CB-4034-BA81-E3658E7812A5}" dt="2021-10-14T12:06:17.552" v="415" actId="14100"/>
        <pc:sldMkLst>
          <pc:docMk/>
          <pc:sldMk cId="1537997412" sldId="373"/>
        </pc:sldMkLst>
        <pc:spChg chg="add mod">
          <ac:chgData name="Meyer Raphael (PAR-ES)" userId="79615dfe-ed48-4e74-a40f-4f7b034c1c27" providerId="ADAL" clId="{6B72B7AA-64CB-4034-BA81-E3658E7812A5}" dt="2021-10-14T11:41:59.594" v="359" actId="1038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3" creationId="{B946C02A-50DE-42C7-A209-D603829BA4B1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16" creationId="{12071265-4F7A-4F0C-9EDF-46D776DCEF56}"/>
          </ac:spMkLst>
        </pc:spChg>
        <pc:spChg chg="add 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6B72B7AA-64CB-4034-BA81-E3658E7812A5}" dt="2021-10-14T11:40:33.481" v="308" actId="1036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6B72B7AA-64CB-4034-BA81-E3658E7812A5}" dt="2021-10-14T11:44:43.576" v="388" actId="103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6B72B7AA-64CB-4034-BA81-E3658E7812A5}" dt="2021-10-14T12:00:43.264" v="394" actId="692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add del mod">
          <ac:chgData name="Meyer Raphael (PAR-ES)" userId="79615dfe-ed48-4e74-a40f-4f7b034c1c27" providerId="ADAL" clId="{6B72B7AA-64CB-4034-BA81-E3658E7812A5}" dt="2021-10-14T11:44:50.848" v="389" actId="478"/>
          <ac:cxnSpMkLst>
            <pc:docMk/>
            <pc:sldMk cId="1537997412" sldId="373"/>
            <ac:cxnSpMk id="4" creationId="{1618E749-6E1A-4CDD-BE33-96BC27DA780E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6B72B7AA-64CB-4034-BA81-E3658E7812A5}" dt="2021-10-14T11:40:33.481" v="308" actId="1036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6B72B7AA-64CB-4034-BA81-E3658E7812A5}" dt="2021-10-14T11:46:05.143" v="393" actId="1037"/>
          <ac:cxnSpMkLst>
            <pc:docMk/>
            <pc:sldMk cId="1537997412" sldId="373"/>
            <ac:cxnSpMk id="15" creationId="{0799A6FE-48F2-42FE-8723-6D0DDE6ED073}"/>
          </ac:cxnSpMkLst>
        </pc:cxnChg>
        <pc:cxnChg chg="mod ord">
          <ac:chgData name="Meyer Raphael (PAR-ES)" userId="79615dfe-ed48-4e74-a40f-4f7b034c1c27" providerId="ADAL" clId="{6B72B7AA-64CB-4034-BA81-E3658E7812A5}" dt="2021-10-14T12:04:59.719" v="405" actId="1035"/>
          <ac:cxnSpMkLst>
            <pc:docMk/>
            <pc:sldMk cId="1537997412" sldId="373"/>
            <ac:cxnSpMk id="17" creationId="{ADB86D40-94DA-4EA6-A13C-F322B879613C}"/>
          </ac:cxnSpMkLst>
        </pc:cxnChg>
        <pc:cxnChg chg="add mod ord">
          <ac:chgData name="Meyer Raphael (PAR-ES)" userId="79615dfe-ed48-4e74-a40f-4f7b034c1c27" providerId="ADAL" clId="{6B72B7AA-64CB-4034-BA81-E3658E7812A5}" dt="2021-10-14T12:06:17.552" v="415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 ord">
          <ac:chgData name="Meyer Raphael (PAR-ES)" userId="79615dfe-ed48-4e74-a40f-4f7b034c1c27" providerId="ADAL" clId="{6B72B7AA-64CB-4034-BA81-E3658E7812A5}" dt="2021-10-14T12:06:10.762" v="414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A5E257DA-1DDD-4903-A2FA-1BDC090569F8}"/>
    <pc:docChg chg="undo custSel addSld delSld modSld sldOrd modMainMaster">
      <pc:chgData name="Meyer Raphael (PAR-ES)" userId="79615dfe-ed48-4e74-a40f-4f7b034c1c27" providerId="ADAL" clId="{A5E257DA-1DDD-4903-A2FA-1BDC090569F8}" dt="2021-10-19T11:12:31.231" v="321" actId="47"/>
      <pc:docMkLst>
        <pc:docMk/>
      </pc:docMkLst>
      <pc:sldChg chg="add del">
        <pc:chgData name="Meyer Raphael (PAR-ES)" userId="79615dfe-ed48-4e74-a40f-4f7b034c1c27" providerId="ADAL" clId="{A5E257DA-1DDD-4903-A2FA-1BDC090569F8}" dt="2021-10-19T10:56:27.768" v="287" actId="47"/>
        <pc:sldMkLst>
          <pc:docMk/>
          <pc:sldMk cId="394638514" sldId="278"/>
        </pc:sldMkLst>
      </pc:sldChg>
      <pc:sldChg chg="add del">
        <pc:chgData name="Meyer Raphael (PAR-ES)" userId="79615dfe-ed48-4e74-a40f-4f7b034c1c27" providerId="ADAL" clId="{A5E257DA-1DDD-4903-A2FA-1BDC090569F8}" dt="2021-10-19T10:57:16.729" v="288" actId="47"/>
        <pc:sldMkLst>
          <pc:docMk/>
          <pc:sldMk cId="2118529740" sldId="292"/>
        </pc:sldMkLst>
      </pc:sldChg>
      <pc:sldChg chg="del">
        <pc:chgData name="Meyer Raphael (PAR-ES)" userId="79615dfe-ed48-4e74-a40f-4f7b034c1c27" providerId="ADAL" clId="{A5E257DA-1DDD-4903-A2FA-1BDC090569F8}" dt="2021-10-19T11:12:31.231" v="321" actId="47"/>
        <pc:sldMkLst>
          <pc:docMk/>
          <pc:sldMk cId="3137099422" sldId="358"/>
        </pc:sldMkLst>
      </pc:sldChg>
      <pc:sldChg chg="del">
        <pc:chgData name="Meyer Raphael (PAR-ES)" userId="79615dfe-ed48-4e74-a40f-4f7b034c1c27" providerId="ADAL" clId="{A5E257DA-1DDD-4903-A2FA-1BDC090569F8}" dt="2021-10-19T11:12:26.826" v="320" actId="47"/>
        <pc:sldMkLst>
          <pc:docMk/>
          <pc:sldMk cId="4111543747" sldId="368"/>
        </pc:sldMkLst>
      </pc:sldChg>
      <pc:sldChg chg="del">
        <pc:chgData name="Meyer Raphael (PAR-ES)" userId="79615dfe-ed48-4e74-a40f-4f7b034c1c27" providerId="ADAL" clId="{A5E257DA-1DDD-4903-A2FA-1BDC090569F8}" dt="2021-10-19T11:12:21.888" v="319" actId="47"/>
        <pc:sldMkLst>
          <pc:docMk/>
          <pc:sldMk cId="3462026173" sldId="370"/>
        </pc:sldMkLst>
      </pc:sldChg>
      <pc:sldChg chg="addSp delSp modSp mod modClrScheme modShow chgLayout">
        <pc:chgData name="Meyer Raphael (PAR-ES)" userId="79615dfe-ed48-4e74-a40f-4f7b034c1c27" providerId="ADAL" clId="{A5E257DA-1DDD-4903-A2FA-1BDC090569F8}" dt="2021-10-19T10:56:00.761" v="284" actId="207"/>
        <pc:sldMkLst>
          <pc:docMk/>
          <pc:sldMk cId="1537997412" sldId="373"/>
        </pc:sldMkLst>
        <pc:spChg chg="mod">
          <ac:chgData name="Meyer Raphael (PAR-ES)" userId="79615dfe-ed48-4e74-a40f-4f7b034c1c27" providerId="ADAL" clId="{A5E257DA-1DDD-4903-A2FA-1BDC090569F8}" dt="2021-10-19T10:54:47.546" v="276" actId="2711"/>
          <ac:spMkLst>
            <pc:docMk/>
            <pc:sldMk cId="1537997412" sldId="373"/>
            <ac:spMk id="2" creationId="{5E8A4EFD-4DC4-43AA-95D5-75F07C9AB845}"/>
          </ac:spMkLst>
        </pc:spChg>
        <pc:spChg chg="del mod">
          <ac:chgData name="Meyer Raphael (PAR-ES)" userId="79615dfe-ed48-4e74-a40f-4f7b034c1c27" providerId="ADAL" clId="{A5E257DA-1DDD-4903-A2FA-1BDC090569F8}" dt="2021-10-19T10:54:19.590" v="271" actId="478"/>
          <ac:spMkLst>
            <pc:docMk/>
            <pc:sldMk cId="1537997412" sldId="373"/>
            <ac:spMk id="6" creationId="{8C570F95-0775-4F12-8DDA-DD52CE7241CC}"/>
          </ac:spMkLst>
        </pc:spChg>
        <pc:spChg chg="add del mod ord">
          <ac:chgData name="Meyer Raphael (PAR-ES)" userId="79615dfe-ed48-4e74-a40f-4f7b034c1c27" providerId="ADAL" clId="{A5E257DA-1DDD-4903-A2FA-1BDC090569F8}" dt="2021-10-19T09:26:15.211" v="72" actId="700"/>
          <ac:spMkLst>
            <pc:docMk/>
            <pc:sldMk cId="1537997412" sldId="373"/>
            <ac:spMk id="8" creationId="{BB7AD370-FC21-4A63-B2F3-F53F7A8A2971}"/>
          </ac:spMkLst>
        </pc:spChg>
        <pc:spChg chg="mod">
          <ac:chgData name="Meyer Raphael (PAR-ES)" userId="79615dfe-ed48-4e74-a40f-4f7b034c1c27" providerId="ADAL" clId="{A5E257DA-1DDD-4903-A2FA-1BDC090569F8}" dt="2021-10-19T10:53:51.775" v="267" actId="2711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3:46.148" v="265" actId="2711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3:48.583" v="266" actId="2711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A5E257DA-1DDD-4903-A2FA-1BDC090569F8}" dt="2021-10-19T07:35:16.109" v="14" actId="14100"/>
          <ac:spMkLst>
            <pc:docMk/>
            <pc:sldMk cId="1537997412" sldId="373"/>
            <ac:spMk id="16" creationId="{12071265-4F7A-4F0C-9EDF-46D776DCEF56}"/>
          </ac:spMkLst>
        </pc:spChg>
        <pc:spChg chg="del mod ord">
          <ac:chgData name="Meyer Raphael (PAR-ES)" userId="79615dfe-ed48-4e74-a40f-4f7b034c1c27" providerId="ADAL" clId="{A5E257DA-1DDD-4903-A2FA-1BDC090569F8}" dt="2021-10-19T09:28:36.491" v="165" actId="478"/>
          <ac:spMkLst>
            <pc:docMk/>
            <pc:sldMk cId="1537997412" sldId="373"/>
            <ac:spMk id="19" creationId="{9FB4AF3B-D5AD-4F53-ABB0-E4CE1F5D8E5E}"/>
          </ac:spMkLst>
        </pc:spChg>
        <pc:spChg chg="add del">
          <ac:chgData name="Meyer Raphael (PAR-ES)" userId="79615dfe-ed48-4e74-a40f-4f7b034c1c27" providerId="ADAL" clId="{A5E257DA-1DDD-4903-A2FA-1BDC090569F8}" dt="2021-10-19T09:29:45.750" v="169" actId="478"/>
          <ac:spMkLst>
            <pc:docMk/>
            <pc:sldMk cId="1537997412" sldId="373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4:05.777" v="270" actId="2711"/>
          <ac:spMkLst>
            <pc:docMk/>
            <pc:sldMk cId="1537997412" sldId="373"/>
            <ac:spMk id="22" creationId="{B3F5B9B8-EDA8-430F-83AA-59E4DAA4DCA3}"/>
          </ac:spMkLst>
        </pc:spChg>
        <pc:spChg chg="add del mod">
          <ac:chgData name="Meyer Raphael (PAR-ES)" userId="79615dfe-ed48-4e74-a40f-4f7b034c1c27" providerId="ADAL" clId="{A5E257DA-1DDD-4903-A2FA-1BDC090569F8}" dt="2021-10-19T09:28:40.747" v="166" actId="478"/>
          <ac:spMkLst>
            <pc:docMk/>
            <pc:sldMk cId="1537997412" sldId="373"/>
            <ac:spMk id="23" creationId="{D23C2A18-7CB1-4AB4-B97C-129A04690FE2}"/>
          </ac:spMkLst>
        </pc:spChg>
        <pc:spChg chg="mod">
          <ac:chgData name="Meyer Raphael (PAR-ES)" userId="79615dfe-ed48-4e74-a40f-4f7b034c1c27" providerId="ADAL" clId="{A5E257DA-1DDD-4903-A2FA-1BDC090569F8}" dt="2021-10-19T07:35:07.673" v="12" actId="14100"/>
          <ac:spMkLst>
            <pc:docMk/>
            <pc:sldMk cId="1537997412" sldId="373"/>
            <ac:spMk id="24" creationId="{FD07A55C-6879-4E52-B5A8-38679864E2FC}"/>
          </ac:spMkLst>
        </pc:spChg>
        <pc:spChg chg="add del mod">
          <ac:chgData name="Meyer Raphael (PAR-ES)" userId="79615dfe-ed48-4e74-a40f-4f7b034c1c27" providerId="ADAL" clId="{A5E257DA-1DDD-4903-A2FA-1BDC090569F8}" dt="2021-10-19T09:27:29.945" v="81"/>
          <ac:spMkLst>
            <pc:docMk/>
            <pc:sldMk cId="1537997412" sldId="373"/>
            <ac:spMk id="25" creationId="{986910AA-318D-4B30-A751-E918E5F3FEA1}"/>
          </ac:spMkLst>
        </pc:spChg>
        <pc:spChg chg="add mod">
          <ac:chgData name="Meyer Raphael (PAR-ES)" userId="79615dfe-ed48-4e74-a40f-4f7b034c1c27" providerId="ADAL" clId="{A5E257DA-1DDD-4903-A2FA-1BDC090569F8}" dt="2021-10-19T09:29:52.362" v="171" actId="404"/>
          <ac:spMkLst>
            <pc:docMk/>
            <pc:sldMk cId="1537997412" sldId="373"/>
            <ac:spMk id="26" creationId="{B2A2B17F-5283-4548-8C7D-95077C2EAD04}"/>
          </ac:spMkLst>
        </pc:spChg>
        <pc:spChg chg="add mod">
          <ac:chgData name="Meyer Raphael (PAR-ES)" userId="79615dfe-ed48-4e74-a40f-4f7b034c1c27" providerId="ADAL" clId="{A5E257DA-1DDD-4903-A2FA-1BDC090569F8}" dt="2021-10-19T10:54:20.655" v="272"/>
          <ac:spMkLst>
            <pc:docMk/>
            <pc:sldMk cId="1537997412" sldId="373"/>
            <ac:spMk id="28" creationId="{582710AA-075B-42A9-AAE8-776AAD968DF6}"/>
          </ac:spMkLst>
        </pc:spChg>
        <pc:spChg chg="mod">
          <ac:chgData name="Meyer Raphael (PAR-ES)" userId="79615dfe-ed48-4e74-a40f-4f7b034c1c27" providerId="ADAL" clId="{A5E257DA-1DDD-4903-A2FA-1BDC090569F8}" dt="2021-10-19T10:54:44.957" v="275" actId="2711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56:00.761" v="284" actId="207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A5E257DA-1DDD-4903-A2FA-1BDC090569F8}" dt="2021-10-19T07:36:38.914" v="23" actId="1038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A5E257DA-1DDD-4903-A2FA-1BDC090569F8}" dt="2021-10-19T07:36:51.807" v="25" actId="1037"/>
          <ac:cxnSpMkLst>
            <pc:docMk/>
            <pc:sldMk cId="1537997412" sldId="373"/>
            <ac:cxnSpMk id="11" creationId="{A9B79FFE-7EB4-42F9-AF46-169C3E5C72D5}"/>
          </ac:cxnSpMkLst>
        </pc:cxnChg>
        <pc:cxnChg chg="mod">
          <ac:chgData name="Meyer Raphael (PAR-ES)" userId="79615dfe-ed48-4e74-a40f-4f7b034c1c27" providerId="ADAL" clId="{A5E257DA-1DDD-4903-A2FA-1BDC090569F8}" dt="2021-10-19T07:34:09.949" v="6" actId="1036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A5E257DA-1DDD-4903-A2FA-1BDC090569F8}" dt="2021-10-19T07:34:38.235" v="8" actId="1035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A5E257DA-1DDD-4903-A2FA-1BDC090569F8}" dt="2021-10-19T07:34:52.791" v="10" actId="1036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addSp delSp modSp add mod ord modShow">
        <pc:chgData name="Meyer Raphael (PAR-ES)" userId="79615dfe-ed48-4e74-a40f-4f7b034c1c27" providerId="ADAL" clId="{A5E257DA-1DDD-4903-A2FA-1BDC090569F8}" dt="2021-10-19T10:49:46.899" v="262" actId="207"/>
        <pc:sldMkLst>
          <pc:docMk/>
          <pc:sldMk cId="1860183250" sldId="377"/>
        </pc:sldMkLst>
        <pc:spChg chg="mod">
          <ac:chgData name="Meyer Raphael (PAR-ES)" userId="79615dfe-ed48-4e74-a40f-4f7b034c1c27" providerId="ADAL" clId="{A5E257DA-1DDD-4903-A2FA-1BDC090569F8}" dt="2021-10-19T09:43:35.949" v="202" actId="2711"/>
          <ac:spMkLst>
            <pc:docMk/>
            <pc:sldMk cId="1860183250" sldId="377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09:44:22.371" v="208" actId="478"/>
          <ac:spMkLst>
            <pc:docMk/>
            <pc:sldMk cId="1860183250" sldId="377"/>
            <ac:spMk id="4" creationId="{DFF900A6-17FF-45E8-AEE4-B4AB3AAA3450}"/>
          </ac:spMkLst>
        </pc:spChg>
        <pc:spChg chg="mod">
          <ac:chgData name="Meyer Raphael (PAR-ES)" userId="79615dfe-ed48-4e74-a40f-4f7b034c1c27" providerId="ADAL" clId="{A5E257DA-1DDD-4903-A2FA-1BDC090569F8}" dt="2021-10-19T09:43:09.615" v="197" actId="14100"/>
          <ac:spMkLst>
            <pc:docMk/>
            <pc:sldMk cId="1860183250" sldId="377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09:43:29.584" v="201" actId="2711"/>
          <ac:spMkLst>
            <pc:docMk/>
            <pc:sldMk cId="1860183250" sldId="377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09:43:24.876" v="199" actId="2711"/>
          <ac:spMkLst>
            <pc:docMk/>
            <pc:sldMk cId="1860183250" sldId="377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09:43:27.463" v="200" actId="2711"/>
          <ac:spMkLst>
            <pc:docMk/>
            <pc:sldMk cId="1860183250" sldId="377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09:44:18.679" v="207" actId="478"/>
          <ac:spMkLst>
            <pc:docMk/>
            <pc:sldMk cId="1860183250" sldId="377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09:44:26.161" v="209" actId="478"/>
          <ac:spMkLst>
            <pc:docMk/>
            <pc:sldMk cId="1860183250" sldId="377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09:43:14.628" v="198" actId="2711"/>
          <ac:spMkLst>
            <pc:docMk/>
            <pc:sldMk cId="1860183250" sldId="377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09:44:14.570" v="206"/>
          <ac:spMkLst>
            <pc:docMk/>
            <pc:sldMk cId="1860183250" sldId="377"/>
            <ac:spMk id="23" creationId="{BB914326-7AE8-4E56-8D70-FE10C57F72D7}"/>
          </ac:spMkLst>
        </pc:spChg>
        <pc:spChg chg="mod">
          <ac:chgData name="Meyer Raphael (PAR-ES)" userId="79615dfe-ed48-4e74-a40f-4f7b034c1c27" providerId="ADAL" clId="{A5E257DA-1DDD-4903-A2FA-1BDC090569F8}" dt="2021-10-19T09:42:56.255" v="195" actId="2711"/>
          <ac:spMkLst>
            <pc:docMk/>
            <pc:sldMk cId="1860183250" sldId="377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0:49:46.899" v="262" actId="207"/>
          <ac:graphicFrameMkLst>
            <pc:docMk/>
            <pc:sldMk cId="1860183250" sldId="377"/>
            <ac:graphicFrameMk id="10" creationId="{E856299E-9B60-478F-8674-1045505692C4}"/>
          </ac:graphicFrameMkLst>
        </pc:graphicFrameChg>
      </pc:sldChg>
      <pc:sldChg chg="addSp delSp modSp add mod modShow">
        <pc:chgData name="Meyer Raphael (PAR-ES)" userId="79615dfe-ed48-4e74-a40f-4f7b034c1c27" providerId="ADAL" clId="{A5E257DA-1DDD-4903-A2FA-1BDC090569F8}" dt="2021-10-19T11:00:27.706" v="318" actId="729"/>
        <pc:sldMkLst>
          <pc:docMk/>
          <pc:sldMk cId="3254615737" sldId="378"/>
        </pc:sldMkLst>
        <pc:spChg chg="mod">
          <ac:chgData name="Meyer Raphael (PAR-ES)" userId="79615dfe-ed48-4e74-a40f-4f7b034c1c27" providerId="ADAL" clId="{A5E257DA-1DDD-4903-A2FA-1BDC090569F8}" dt="2021-10-19T11:00:10.408" v="317" actId="2711"/>
          <ac:spMkLst>
            <pc:docMk/>
            <pc:sldMk cId="3254615737" sldId="378"/>
            <ac:spMk id="2" creationId="{5E8A4EFD-4DC4-43AA-95D5-75F07C9AB845}"/>
          </ac:spMkLst>
        </pc:spChg>
        <pc:spChg chg="add del mod">
          <ac:chgData name="Meyer Raphael (PAR-ES)" userId="79615dfe-ed48-4e74-a40f-4f7b034c1c27" providerId="ADAL" clId="{A5E257DA-1DDD-4903-A2FA-1BDC090569F8}" dt="2021-10-19T10:58:28.759" v="297" actId="478"/>
          <ac:spMkLst>
            <pc:docMk/>
            <pc:sldMk cId="3254615737" sldId="378"/>
            <ac:spMk id="4" creationId="{BA55A192-82EF-469B-B729-E912E04AFBCA}"/>
          </ac:spMkLst>
        </pc:spChg>
        <pc:spChg chg="del mod">
          <ac:chgData name="Meyer Raphael (PAR-ES)" userId="79615dfe-ed48-4e74-a40f-4f7b034c1c27" providerId="ADAL" clId="{A5E257DA-1DDD-4903-A2FA-1BDC090569F8}" dt="2021-10-19T10:59:42.708" v="311" actId="478"/>
          <ac:spMkLst>
            <pc:docMk/>
            <pc:sldMk cId="3254615737" sldId="378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A5E257DA-1DDD-4903-A2FA-1BDC090569F8}" dt="2021-10-19T10:59:33.798" v="308" actId="2711"/>
          <ac:spMkLst>
            <pc:docMk/>
            <pc:sldMk cId="3254615737" sldId="378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A5E257DA-1DDD-4903-A2FA-1BDC090569F8}" dt="2021-10-19T10:59:28.362" v="306" actId="2711"/>
          <ac:spMkLst>
            <pc:docMk/>
            <pc:sldMk cId="3254615737" sldId="378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A5E257DA-1DDD-4903-A2FA-1BDC090569F8}" dt="2021-10-19T10:59:31.031" v="307" actId="2711"/>
          <ac:spMkLst>
            <pc:docMk/>
            <pc:sldMk cId="3254615737" sldId="378"/>
            <ac:spMk id="13" creationId="{B946C02A-50DE-42C7-A209-D603829BA4B1}"/>
          </ac:spMkLst>
        </pc:spChg>
        <pc:spChg chg="del mod">
          <ac:chgData name="Meyer Raphael (PAR-ES)" userId="79615dfe-ed48-4e74-a40f-4f7b034c1c27" providerId="ADAL" clId="{A5E257DA-1DDD-4903-A2FA-1BDC090569F8}" dt="2021-10-19T10:58:26.730" v="296" actId="478"/>
          <ac:spMkLst>
            <pc:docMk/>
            <pc:sldMk cId="3254615737" sldId="378"/>
            <ac:spMk id="19" creationId="{9FB4AF3B-D5AD-4F53-ABB0-E4CE1F5D8E5E}"/>
          </ac:spMkLst>
        </pc:spChg>
        <pc:spChg chg="del mod">
          <ac:chgData name="Meyer Raphael (PAR-ES)" userId="79615dfe-ed48-4e74-a40f-4f7b034c1c27" providerId="ADAL" clId="{A5E257DA-1DDD-4903-A2FA-1BDC090569F8}" dt="2021-10-19T10:58:32.145" v="298" actId="478"/>
          <ac:spMkLst>
            <pc:docMk/>
            <pc:sldMk cId="3254615737" sldId="378"/>
            <ac:spMk id="20" creationId="{6D955C95-B626-44C6-B064-0754E67E37CF}"/>
          </ac:spMkLst>
        </pc:spChg>
        <pc:spChg chg="mod">
          <ac:chgData name="Meyer Raphael (PAR-ES)" userId="79615dfe-ed48-4e74-a40f-4f7b034c1c27" providerId="ADAL" clId="{A5E257DA-1DDD-4903-A2FA-1BDC090569F8}" dt="2021-10-19T10:59:54.747" v="313" actId="2711"/>
          <ac:spMkLst>
            <pc:docMk/>
            <pc:sldMk cId="3254615737" sldId="378"/>
            <ac:spMk id="22" creationId="{B3F5B9B8-EDA8-430F-83AA-59E4DAA4DCA3}"/>
          </ac:spMkLst>
        </pc:spChg>
        <pc:spChg chg="add mod">
          <ac:chgData name="Meyer Raphael (PAR-ES)" userId="79615dfe-ed48-4e74-a40f-4f7b034c1c27" providerId="ADAL" clId="{A5E257DA-1DDD-4903-A2FA-1BDC090569F8}" dt="2021-10-19T10:58:21.994" v="295"/>
          <ac:spMkLst>
            <pc:docMk/>
            <pc:sldMk cId="3254615737" sldId="378"/>
            <ac:spMk id="23" creationId="{C7EA10FB-93CC-4AA7-954F-92959A012B4C}"/>
          </ac:spMkLst>
        </pc:spChg>
        <pc:spChg chg="add mod">
          <ac:chgData name="Meyer Raphael (PAR-ES)" userId="79615dfe-ed48-4e74-a40f-4f7b034c1c27" providerId="ADAL" clId="{A5E257DA-1DDD-4903-A2FA-1BDC090569F8}" dt="2021-10-19T10:59:48.365" v="312"/>
          <ac:spMkLst>
            <pc:docMk/>
            <pc:sldMk cId="3254615737" sldId="378"/>
            <ac:spMk id="25" creationId="{EC5C1B42-A4A4-41A8-BF9E-C3765099701D}"/>
          </ac:spMkLst>
        </pc:spChg>
        <pc:spChg chg="mod">
          <ac:chgData name="Meyer Raphael (PAR-ES)" userId="79615dfe-ed48-4e74-a40f-4f7b034c1c27" providerId="ADAL" clId="{A5E257DA-1DDD-4903-A2FA-1BDC090569F8}" dt="2021-10-19T11:00:07.349" v="316" actId="2711"/>
          <ac:spMkLst>
            <pc:docMk/>
            <pc:sldMk cId="3254615737" sldId="378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A5E257DA-1DDD-4903-A2FA-1BDC090569F8}" dt="2021-10-19T11:00:03.976" v="315" actId="2711"/>
          <ac:graphicFrameMkLst>
            <pc:docMk/>
            <pc:sldMk cId="3254615737" sldId="378"/>
            <ac:graphicFrameMk id="10" creationId="{E856299E-9B60-478F-8674-1045505692C4}"/>
          </ac:graphicFrameMkLst>
        </pc:graphicFrameChg>
      </pc:sldChg>
      <pc:sldMasterChg chg="addSp modSp mod">
        <pc:chgData name="Meyer Raphael (PAR-ES)" userId="79615dfe-ed48-4e74-a40f-4f7b034c1c27" providerId="ADAL" clId="{A5E257DA-1DDD-4903-A2FA-1BDC090569F8}" dt="2021-10-19T09:44:29.818" v="240"/>
        <pc:sldMasterMkLst>
          <pc:docMk/>
          <pc:sldMasterMk cId="3007821643" sldId="2147483676"/>
        </pc:sldMasterMkLst>
        <pc:spChg chg="add mod ord modVis">
          <ac:chgData name="Meyer Raphael (PAR-ES)" userId="79615dfe-ed48-4e74-a40f-4f7b034c1c27" providerId="ADAL" clId="{A5E257DA-1DDD-4903-A2FA-1BDC090569F8}" dt="2021-10-19T09:44:29.818" v="240"/>
          <ac:spMkLst>
            <pc:docMk/>
            <pc:sldMasterMk cId="3007821643" sldId="2147483676"/>
            <ac:spMk id="7" creationId="{5E12FC31-FC0C-4EA2-A0F0-EC04857B99CD}"/>
          </ac:spMkLst>
        </pc:spChg>
      </pc:sldMasterChg>
    </pc:docChg>
  </pc:docChgLst>
  <pc:docChgLst>
    <pc:chgData name="Meyer Raphael (PAR-ES)" userId="79615dfe-ed48-4e74-a40f-4f7b034c1c27" providerId="ADAL" clId="{74587FB8-B2BD-4F09-88B8-92B765731C3A}"/>
    <pc:docChg chg="addSld delSld modSld">
      <pc:chgData name="Meyer Raphael (PAR-ES)" userId="79615dfe-ed48-4e74-a40f-4f7b034c1c27" providerId="ADAL" clId="{74587FB8-B2BD-4F09-88B8-92B765731C3A}" dt="2022-02-21T15:28:35.598" v="17" actId="27918"/>
      <pc:docMkLst>
        <pc:docMk/>
      </pc:docMkLst>
      <pc:sldChg chg="del">
        <pc:chgData name="Meyer Raphael (PAR-ES)" userId="79615dfe-ed48-4e74-a40f-4f7b034c1c27" providerId="ADAL" clId="{74587FB8-B2BD-4F09-88B8-92B765731C3A}" dt="2022-02-21T15:26:29.272" v="0" actId="47"/>
        <pc:sldMkLst>
          <pc:docMk/>
          <pc:sldMk cId="943556213" sldId="406"/>
        </pc:sldMkLst>
      </pc:sldChg>
      <pc:sldChg chg="modSp add mod">
        <pc:chgData name="Meyer Raphael (PAR-ES)" userId="79615dfe-ed48-4e74-a40f-4f7b034c1c27" providerId="ADAL" clId="{74587FB8-B2BD-4F09-88B8-92B765731C3A}" dt="2022-02-21T15:28:35.598" v="17" actId="27918"/>
        <pc:sldMkLst>
          <pc:docMk/>
          <pc:sldMk cId="1116898475" sldId="408"/>
        </pc:sldMkLst>
        <pc:spChg chg="mod">
          <ac:chgData name="Meyer Raphael (PAR-ES)" userId="79615dfe-ed48-4e74-a40f-4f7b034c1c27" providerId="ADAL" clId="{74587FB8-B2BD-4F09-88B8-92B765731C3A}" dt="2022-02-21T15:27:24.683" v="6" actId="20577"/>
          <ac:spMkLst>
            <pc:docMk/>
            <pc:sldMk cId="1116898475" sldId="408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74587FB8-B2BD-4F09-88B8-92B765731C3A}" dt="2022-02-21T15:27:44.854" v="7"/>
          <ac:spMkLst>
            <pc:docMk/>
            <pc:sldMk cId="1116898475" sldId="408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74587FB8-B2BD-4F09-88B8-92B765731C3A}" dt="2022-02-21T15:27:58.044" v="14" actId="20577"/>
          <ac:spMkLst>
            <pc:docMk/>
            <pc:sldMk cId="1116898475" sldId="408"/>
            <ac:spMk id="8" creationId="{06532336-43AE-43F1-8B99-299E3E2FB919}"/>
          </ac:spMkLst>
        </pc:spChg>
      </pc:sldChg>
      <pc:sldChg chg="add">
        <pc:chgData name="Meyer Raphael (PAR-ES)" userId="79615dfe-ed48-4e74-a40f-4f7b034c1c27" providerId="ADAL" clId="{74587FB8-B2BD-4F09-88B8-92B765731C3A}" dt="2022-02-21T15:26:47.999" v="2" actId="2890"/>
        <pc:sldMkLst>
          <pc:docMk/>
          <pc:sldMk cId="3294247987" sldId="409"/>
        </pc:sldMkLst>
      </pc:sldChg>
      <pc:sldChg chg="add">
        <pc:chgData name="Meyer Raphael (PAR-ES)" userId="79615dfe-ed48-4e74-a40f-4f7b034c1c27" providerId="ADAL" clId="{74587FB8-B2BD-4F09-88B8-92B765731C3A}" dt="2022-02-21T15:26:48.748" v="3" actId="2890"/>
        <pc:sldMkLst>
          <pc:docMk/>
          <pc:sldMk cId="2032574650" sldId="410"/>
        </pc:sldMkLst>
      </pc:sldChg>
    </pc:docChg>
  </pc:docChgLst>
  <pc:docChgLst>
    <pc:chgData name="Weigel Stefan (PAR-EPS)" userId="fd3b2067-2981-4ad8-bf3a-d2e1004e4fa8" providerId="ADAL" clId="{DFB95824-6C03-43B1-8A13-3D863B61D1B5}"/>
    <pc:docChg chg="modSld">
      <pc:chgData name="Weigel Stefan (PAR-EPS)" userId="fd3b2067-2981-4ad8-bf3a-d2e1004e4fa8" providerId="ADAL" clId="{DFB95824-6C03-43B1-8A13-3D863B61D1B5}" dt="2024-04-11T13:59:41.437" v="8" actId="692"/>
      <pc:docMkLst>
        <pc:docMk/>
      </pc:docMkLst>
      <pc:sldChg chg="modSp mod">
        <pc:chgData name="Weigel Stefan (PAR-EPS)" userId="fd3b2067-2981-4ad8-bf3a-d2e1004e4fa8" providerId="ADAL" clId="{DFB95824-6C03-43B1-8A13-3D863B61D1B5}" dt="2024-04-11T13:59:41.437" v="8" actId="692"/>
        <pc:sldMkLst>
          <pc:docMk/>
          <pc:sldMk cId="3808035539" sldId="270"/>
        </pc:sldMkLst>
        <pc:spChg chg="mod">
          <ac:chgData name="Weigel Stefan (PAR-EPS)" userId="fd3b2067-2981-4ad8-bf3a-d2e1004e4fa8" providerId="ADAL" clId="{DFB95824-6C03-43B1-8A13-3D863B61D1B5}" dt="2024-04-11T13:57:16.235" v="5" actId="255"/>
          <ac:spMkLst>
            <pc:docMk/>
            <pc:sldMk cId="3808035539" sldId="270"/>
            <ac:spMk id="12" creationId="{5951AA1F-1F78-4199-A377-9885C86C21AF}"/>
          </ac:spMkLst>
        </pc:spChg>
        <pc:spChg chg="mod">
          <ac:chgData name="Weigel Stefan (PAR-EPS)" userId="fd3b2067-2981-4ad8-bf3a-d2e1004e4fa8" providerId="ADAL" clId="{DFB95824-6C03-43B1-8A13-3D863B61D1B5}" dt="2024-04-11T13:57:11.676" v="4" actId="255"/>
          <ac:spMkLst>
            <pc:docMk/>
            <pc:sldMk cId="3808035539" sldId="270"/>
            <ac:spMk id="13" creationId="{529F12DD-D362-4327-A51F-7014752CAD03}"/>
          </ac:spMkLst>
        </pc:spChg>
        <pc:graphicFrameChg chg="mod">
          <ac:chgData name="Weigel Stefan (PAR-EPS)" userId="fd3b2067-2981-4ad8-bf3a-d2e1004e4fa8" providerId="ADAL" clId="{DFB95824-6C03-43B1-8A13-3D863B61D1B5}" dt="2024-04-11T13:59:41.437" v="8" actId="692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E3FC3DEB-1D4B-4954-B173-EAAE82CEA38B}"/>
    <pc:docChg chg="modSld">
      <pc:chgData name="Meyer Raphael (PAR-ES)" userId="79615dfe-ed48-4e74-a40f-4f7b034c1c27" providerId="ADAL" clId="{E3FC3DEB-1D4B-4954-B173-EAAE82CEA38B}" dt="2021-10-12T12:31:06.200" v="1" actId="27918"/>
      <pc:docMkLst>
        <pc:docMk/>
      </pc:docMkLst>
      <pc:sldChg chg="mod">
        <pc:chgData name="Meyer Raphael (PAR-ES)" userId="79615dfe-ed48-4e74-a40f-4f7b034c1c27" providerId="ADAL" clId="{E3FC3DEB-1D4B-4954-B173-EAAE82CEA38B}" dt="2021-10-12T12:31:06.200" v="1" actId="27918"/>
        <pc:sldMkLst>
          <pc:docMk/>
          <pc:sldMk cId="3462026173" sldId="370"/>
        </pc:sldMkLst>
      </pc:sldChg>
    </pc:docChg>
  </pc:docChgLst>
  <pc:docChgLst>
    <pc:chgData name="Meyer Raphael (PAR-ES)" userId="79615dfe-ed48-4e74-a40f-4f7b034c1c27" providerId="ADAL" clId="{9E554EE2-F074-428C-8653-2CEE000EC49B}"/>
    <pc:docChg chg="undo custSel addSld delSld modSld sldOrd">
      <pc:chgData name="Meyer Raphael (PAR-ES)" userId="79615dfe-ed48-4e74-a40f-4f7b034c1c27" providerId="ADAL" clId="{9E554EE2-F074-428C-8653-2CEE000EC49B}" dt="2021-01-21T09:56:56.178" v="869" actId="2696"/>
      <pc:docMkLst>
        <pc:docMk/>
      </pc:docMkLst>
      <pc:sldChg chg="addSp delSp modSp mod ord modTransition">
        <pc:chgData name="Meyer Raphael (PAR-ES)" userId="79615dfe-ed48-4e74-a40f-4f7b034c1c27" providerId="ADAL" clId="{9E554EE2-F074-428C-8653-2CEE000EC49B}" dt="2021-01-12T08:27:33.493" v="521" actId="20577"/>
        <pc:sldMkLst>
          <pc:docMk/>
          <pc:sldMk cId="1495152177" sldId="298"/>
        </pc:sldMkLst>
        <pc:spChg chg="mod">
          <ac:chgData name="Meyer Raphael (PAR-ES)" userId="79615dfe-ed48-4e74-a40f-4f7b034c1c27" providerId="ADAL" clId="{9E554EE2-F074-428C-8653-2CEE000EC49B}" dt="2021-01-12T08:27:33.493" v="521" actId="20577"/>
          <ac:spMkLst>
            <pc:docMk/>
            <pc:sldMk cId="1495152177" sldId="298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18:11.899" v="371" actId="6549"/>
          <ac:spMkLst>
            <pc:docMk/>
            <pc:sldMk cId="1495152177" sldId="298"/>
            <ac:spMk id="3" creationId="{BE9D54F3-F9D9-46AC-81D9-6B8F30D628E7}"/>
          </ac:spMkLst>
        </pc:spChg>
        <pc:spChg chg="add del mod">
          <ac:chgData name="Meyer Raphael (PAR-ES)" userId="79615dfe-ed48-4e74-a40f-4f7b034c1c27" providerId="ADAL" clId="{9E554EE2-F074-428C-8653-2CEE000EC49B}" dt="2021-01-07T10:15:39.319" v="362" actId="478"/>
          <ac:spMkLst>
            <pc:docMk/>
            <pc:sldMk cId="1495152177" sldId="298"/>
            <ac:spMk id="4" creationId="{B5CDCB28-CC66-4BCC-9EBC-5C934D9B0D1E}"/>
          </ac:spMkLst>
        </pc:spChg>
        <pc:spChg chg="add mod">
          <ac:chgData name="Meyer Raphael (PAR-ES)" userId="79615dfe-ed48-4e74-a40f-4f7b034c1c27" providerId="ADAL" clId="{9E554EE2-F074-428C-8653-2CEE000EC49B}" dt="2021-01-07T10:18:03.478" v="368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9E554EE2-F074-428C-8653-2CEE000EC49B}" dt="2021-01-07T10:19:33.283" v="393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08:59:46.360" v="316"/>
          <ac:spMkLst>
            <pc:docMk/>
            <pc:sldMk cId="1495152177" sldId="298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8:59:10.815" v="309" actId="478"/>
          <ac:spMkLst>
            <pc:docMk/>
            <pc:sldMk cId="1495152177" sldId="298"/>
            <ac:spMk id="11" creationId="{216B739F-8150-4262-9342-2F1CBFEB8A15}"/>
          </ac:spMkLst>
        </pc:spChg>
        <pc:spChg chg="del">
          <ac:chgData name="Meyer Raphael (PAR-ES)" userId="79615dfe-ed48-4e74-a40f-4f7b034c1c27" providerId="ADAL" clId="{9E554EE2-F074-428C-8653-2CEE000EC49B}" dt="2021-01-07T08:59:12.811" v="310" actId="478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PAR-ES)" userId="79615dfe-ed48-4e74-a40f-4f7b034c1c27" providerId="ADAL" clId="{9E554EE2-F074-428C-8653-2CEE000EC49B}" dt="2021-01-07T10:19:59.180" v="398" actId="478"/>
          <ac:spMkLst>
            <pc:docMk/>
            <pc:sldMk cId="1495152177" sldId="298"/>
            <ac:spMk id="14" creationId="{91C996E6-7B36-44FC-81CD-6AF9B6CF5D5F}"/>
          </ac:spMkLst>
        </pc:spChg>
        <pc:spChg chg="add mod">
          <ac:chgData name="Meyer Raphael (PAR-ES)" userId="79615dfe-ed48-4e74-a40f-4f7b034c1c27" providerId="ADAL" clId="{9E554EE2-F074-428C-8653-2CEE000EC49B}" dt="2021-01-07T10:23:57.923" v="430" actId="179"/>
          <ac:spMkLst>
            <pc:docMk/>
            <pc:sldMk cId="1495152177" sldId="298"/>
            <ac:spMk id="15" creationId="{CC1F0CCA-7B55-41F9-A1FF-769ED7C753BD}"/>
          </ac:spMkLst>
        </pc:spChg>
        <pc:spChg chg="del">
          <ac:chgData name="Meyer Raphael (PAR-ES)" userId="79615dfe-ed48-4e74-a40f-4f7b034c1c27" providerId="ADAL" clId="{9E554EE2-F074-428C-8653-2CEE000EC49B}" dt="2021-01-07T08:58:56.783" v="307" actId="478"/>
          <ac:spMkLst>
            <pc:docMk/>
            <pc:sldMk cId="1495152177" sldId="298"/>
            <ac:spMk id="16" creationId="{E0218AF3-B8F0-43F9-B56B-123AF027A635}"/>
          </ac:spMkLst>
        </pc:spChg>
        <pc:graphicFrameChg chg="mod">
          <ac:chgData name="Meyer Raphael (PAR-ES)" userId="79615dfe-ed48-4e74-a40f-4f7b034c1c27" providerId="ADAL" clId="{9E554EE2-F074-428C-8653-2CEE000EC49B}" dt="2021-01-07T10:17:49.084" v="367" actId="14100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del">
          <ac:chgData name="Meyer Raphael (PAR-ES)" userId="79615dfe-ed48-4e74-a40f-4f7b034c1c27" providerId="ADAL" clId="{9E554EE2-F074-428C-8653-2CEE000EC49B}" dt="2021-01-07T08:58:58.386" v="308" actId="478"/>
          <ac:cxnSpMkLst>
            <pc:docMk/>
            <pc:sldMk cId="1495152177" sldId="298"/>
            <ac:cxnSpMk id="13" creationId="{B728F4DE-8CC6-4054-BA1D-EBF2119A4EBB}"/>
          </ac:cxnSpMkLst>
        </pc:cxnChg>
        <pc:cxnChg chg="del">
          <ac:chgData name="Meyer Raphael (PAR-ES)" userId="79615dfe-ed48-4e74-a40f-4f7b034c1c27" providerId="ADAL" clId="{9E554EE2-F074-428C-8653-2CEE000EC49B}" dt="2021-01-06T09:51:51.950" v="1" actId="478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mod">
        <pc:chgData name="Meyer Raphael (PAR-ES)" userId="79615dfe-ed48-4e74-a40f-4f7b034c1c27" providerId="ADAL" clId="{9E554EE2-F074-428C-8653-2CEE000EC49B}" dt="2021-01-21T09:51:57.105" v="773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9E554EE2-F074-428C-8653-2CEE000EC49B}" dt="2021-01-21T09:37:42.772" v="57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E554EE2-F074-428C-8653-2CEE000EC49B}" dt="2021-01-21T09:37:39.147" v="574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E554EE2-F074-428C-8653-2CEE000EC49B}" dt="2021-01-21T09:45:00.176" v="642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E554EE2-F074-428C-8653-2CEE000EC49B}" dt="2021-01-21T09:43:08.678" v="622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E554EE2-F074-428C-8653-2CEE000EC49B}" dt="2021-01-21T09:43:25.126" v="625" actId="1076"/>
          <ac:spMkLst>
            <pc:docMk/>
            <pc:sldMk cId="1667945532" sldId="306"/>
            <ac:spMk id="32" creationId="{E65DDA4F-7190-4D5B-B875-6818D18C9F6E}"/>
          </ac:spMkLst>
        </pc:spChg>
        <pc:spChg chg="add 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3" creationId="{1263211D-7647-4ACE-B729-2338DF0FFB67}"/>
          </ac:spMkLst>
        </pc:spChg>
        <pc:spChg chg="del">
          <ac:chgData name="Meyer Raphael (PAR-ES)" userId="79615dfe-ed48-4e74-a40f-4f7b034c1c27" providerId="ADAL" clId="{9E554EE2-F074-428C-8653-2CEE000EC49B}" dt="2021-01-06T15:16:17.764" v="114" actId="478"/>
          <ac:spMkLst>
            <pc:docMk/>
            <pc:sldMk cId="1667945532" sldId="306"/>
            <ac:spMk id="33" creationId="{A80F7DEC-022D-4493-8CDE-E61BC06E6C43}"/>
          </ac:spMkLst>
        </pc:spChg>
        <pc:spChg chg="add del mod">
          <ac:chgData name="Meyer Raphael (PAR-ES)" userId="79615dfe-ed48-4e74-a40f-4f7b034c1c27" providerId="ADAL" clId="{9E554EE2-F074-428C-8653-2CEE000EC49B}" dt="2021-01-21T09:48:12.284" v="747" actId="478"/>
          <ac:spMkLst>
            <pc:docMk/>
            <pc:sldMk cId="1667945532" sldId="306"/>
            <ac:spMk id="36" creationId="{863FB436-F43E-46B0-806B-F99C48F0B088}"/>
          </ac:spMkLst>
        </pc:spChg>
        <pc:spChg chg="mod">
          <ac:chgData name="Meyer Raphael (PAR-ES)" userId="79615dfe-ed48-4e74-a40f-4f7b034c1c27" providerId="ADAL" clId="{9E554EE2-F074-428C-8653-2CEE000EC49B}" dt="2021-01-21T09:48:18.562" v="748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9E554EE2-F074-428C-8653-2CEE000EC49B}" dt="2021-01-06T15:19:03.513" v="119" actId="69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9E554EE2-F074-428C-8653-2CEE000EC49B}" dt="2021-01-21T09:51:23.619" v="766" actId="14100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1:57.105" v="77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addSp modSp del ord">
        <pc:chgData name="Meyer Raphael (PAR-ES)" userId="79615dfe-ed48-4e74-a40f-4f7b034c1c27" providerId="ADAL" clId="{9E554EE2-F074-428C-8653-2CEE000EC49B}" dt="2021-01-07T07:48:23.034" v="224" actId="2696"/>
        <pc:sldMkLst>
          <pc:docMk/>
          <pc:sldMk cId="2802950074" sldId="315"/>
        </pc:sldMkLst>
        <pc:spChg chg="add mod">
          <ac:chgData name="Meyer Raphael (PAR-ES)" userId="79615dfe-ed48-4e74-a40f-4f7b034c1c27" providerId="ADAL" clId="{9E554EE2-F074-428C-8653-2CEE000EC49B}" dt="2021-01-06T17:05:30.657" v="209" actId="1076"/>
          <ac:spMkLst>
            <pc:docMk/>
            <pc:sldMk cId="2802950074" sldId="315"/>
            <ac:spMk id="3" creationId="{14E2C8E9-A1CC-44E6-8847-DA46874519E7}"/>
          </ac:spMkLst>
        </pc:spChg>
      </pc:sldChg>
      <pc:sldChg chg="addSp modSp del ord">
        <pc:chgData name="Meyer Raphael (PAR-ES)" userId="79615dfe-ed48-4e74-a40f-4f7b034c1c27" providerId="ADAL" clId="{9E554EE2-F074-428C-8653-2CEE000EC49B}" dt="2021-01-07T07:52:11.656" v="257" actId="2696"/>
        <pc:sldMkLst>
          <pc:docMk/>
          <pc:sldMk cId="3685268070" sldId="316"/>
        </pc:sldMkLst>
        <pc:spChg chg="add">
          <ac:chgData name="Meyer Raphael (PAR-ES)" userId="79615dfe-ed48-4e74-a40f-4f7b034c1c27" providerId="ADAL" clId="{9E554EE2-F074-428C-8653-2CEE000EC49B}" dt="2021-01-06T17:05:35.092" v="210"/>
          <ac:spMkLst>
            <pc:docMk/>
            <pc:sldMk cId="3685268070" sldId="316"/>
            <ac:spMk id="26" creationId="{E5D600FA-46CA-4EA1-9786-9B83ADB316DE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3" creationId="{4AD41BCF-05A3-491A-83AE-D05E92731014}"/>
          </ac:spMkLst>
        </pc:spChg>
        <pc:spChg chg="add mod">
          <ac:chgData name="Meyer Raphael (PAR-ES)" userId="79615dfe-ed48-4e74-a40f-4f7b034c1c27" providerId="ADAL" clId="{9E554EE2-F074-428C-8653-2CEE000EC49B}" dt="2021-01-07T07:51:32.069" v="254" actId="1037"/>
          <ac:spMkLst>
            <pc:docMk/>
            <pc:sldMk cId="3685268070" sldId="316"/>
            <ac:spMk id="37" creationId="{B2368178-7E32-42ED-8240-6A780FFF3D89}"/>
          </ac:spMkLst>
        </pc:spChg>
      </pc:sldChg>
      <pc:sldChg chg="addSp delSp modSp add del">
        <pc:chgData name="Meyer Raphael (PAR-ES)" userId="79615dfe-ed48-4e74-a40f-4f7b034c1c27" providerId="ADAL" clId="{9E554EE2-F074-428C-8653-2CEE000EC49B}" dt="2021-01-21T09:51:04.311" v="765" actId="2696"/>
        <pc:sldMkLst>
          <pc:docMk/>
          <pc:sldMk cId="4002282341" sldId="317"/>
        </pc:sldMkLst>
        <pc:spChg chg="mod">
          <ac:chgData name="Meyer Raphael (PAR-ES)" userId="79615dfe-ed48-4e74-a40f-4f7b034c1c27" providerId="ADAL" clId="{9E554EE2-F074-428C-8653-2CEE000EC49B}" dt="2021-01-07T07:46:17.135" v="215"/>
          <ac:spMkLst>
            <pc:docMk/>
            <pc:sldMk cId="4002282341" sldId="31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7:14.787" v="220" actId="14100"/>
          <ac:spMkLst>
            <pc:docMk/>
            <pc:sldMk cId="4002282341" sldId="31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6:28.892" v="216"/>
          <ac:spMkLst>
            <pc:docMk/>
            <pc:sldMk cId="4002282341" sldId="31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6:49.468" v="217" actId="478"/>
          <ac:spMkLst>
            <pc:docMk/>
            <pc:sldMk cId="4002282341" sldId="31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7:30.035" v="221"/>
          <ac:spMkLst>
            <pc:docMk/>
            <pc:sldMk cId="4002282341" sldId="31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3" creationId="{58CCEB20-61A6-4ADF-A55A-701CA7752C4F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8" creationId="{833A0CCD-5D5F-45A1-A5EC-4A0473EC3778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39" creationId="{A5C99738-3034-4B43-9EEA-6B1B8BD3E2ED}"/>
          </ac:spMkLst>
        </pc:spChg>
        <pc:spChg chg="add">
          <ac:chgData name="Meyer Raphael (PAR-ES)" userId="79615dfe-ed48-4e74-a40f-4f7b034c1c27" providerId="ADAL" clId="{9E554EE2-F074-428C-8653-2CEE000EC49B}" dt="2021-01-07T07:47:01.095" v="218"/>
          <ac:spMkLst>
            <pc:docMk/>
            <pc:sldMk cId="4002282341" sldId="317"/>
            <ac:spMk id="40" creationId="{C22B499A-D29F-413A-BED8-752713A912E6}"/>
          </ac:spMkLst>
        </pc:spChg>
        <pc:cxnChg chg="mod">
          <ac:chgData name="Meyer Raphael (PAR-ES)" userId="79615dfe-ed48-4e74-a40f-4f7b034c1c27" providerId="ADAL" clId="{9E554EE2-F074-428C-8653-2CEE000EC49B}" dt="2021-01-07T07:50:56.983" v="248" actId="1038"/>
          <ac:cxnSpMkLst>
            <pc:docMk/>
            <pc:sldMk cId="4002282341" sldId="317"/>
            <ac:cxnSpMk id="30" creationId="{1D702FCA-793F-404B-84D5-F14C318BFFB3}"/>
          </ac:cxnSpMkLst>
        </pc:cxnChg>
      </pc:sldChg>
      <pc:sldChg chg="addSp delSp modSp add del">
        <pc:chgData name="Meyer Raphael (PAR-ES)" userId="79615dfe-ed48-4e74-a40f-4f7b034c1c27" providerId="ADAL" clId="{9E554EE2-F074-428C-8653-2CEE000EC49B}" dt="2021-01-21T09:56:56.178" v="869" actId="2696"/>
        <pc:sldMkLst>
          <pc:docMk/>
          <pc:sldMk cId="2645933736" sldId="318"/>
        </pc:sldMkLst>
        <pc:spChg chg="mod">
          <ac:chgData name="Meyer Raphael (PAR-ES)" userId="79615dfe-ed48-4e74-a40f-4f7b034c1c27" providerId="ADAL" clId="{9E554EE2-F074-428C-8653-2CEE000EC49B}" dt="2021-01-07T07:48:48.206" v="225"/>
          <ac:spMkLst>
            <pc:docMk/>
            <pc:sldMk cId="2645933736" sldId="318"/>
            <ac:spMk id="2" creationId="{A2DC317F-F1F4-4624-8FC1-3B68C1DBB3DA}"/>
          </ac:spMkLst>
        </pc:spChg>
        <pc:spChg chg="add del">
          <ac:chgData name="Meyer Raphael (PAR-ES)" userId="79615dfe-ed48-4e74-a40f-4f7b034c1c27" providerId="ADAL" clId="{9E554EE2-F074-428C-8653-2CEE000EC49B}" dt="2021-01-07T07:51:24.201" v="251"/>
          <ac:spMkLst>
            <pc:docMk/>
            <pc:sldMk cId="2645933736" sldId="318"/>
            <ac:spMk id="6" creationId="{C4599114-3BAB-4799-8583-AC60FF73F79E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E554EE2-F074-428C-8653-2CEE000EC49B}" dt="2021-01-07T07:49:29.159" v="231" actId="14100"/>
          <ac:spMkLst>
            <pc:docMk/>
            <pc:sldMk cId="2645933736" sldId="318"/>
            <ac:spMk id="8" creationId="{5857C2A1-2CB8-4D4A-AEFD-E809BF73D04F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07T07:49:00.065" v="226"/>
          <ac:spMkLst>
            <pc:docMk/>
            <pc:sldMk cId="2645933736" sldId="318"/>
            <ac:spMk id="10" creationId="{077DFD58-E5EE-4B68-9325-D935DB04DD40}"/>
          </ac:spMkLst>
        </pc:spChg>
        <pc:spChg chg="del mod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07T07:49:07.205" v="228" actId="478"/>
          <ac:spMkLst>
            <pc:docMk/>
            <pc:sldMk cId="2645933736" sldId="318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07T07:49:51.343" v="235" actId="14100"/>
          <ac:spMkLst>
            <pc:docMk/>
            <pc:sldMk cId="2645933736" sldId="318"/>
            <ac:spMk id="27" creationId="{46A6B042-39EE-4A58-BBAA-13D52264B660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3" creationId="{80E2488D-C047-4150-AC1F-D4E89DE99EA0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6" creationId="{863FB436-F43E-46B0-806B-F99C48F0B088}"/>
          </ac:spMkLst>
        </pc:spChg>
        <pc:spChg chg="del">
          <ac:chgData name="Meyer Raphael (PAR-ES)" userId="79615dfe-ed48-4e74-a40f-4f7b034c1c27" providerId="ADAL" clId="{9E554EE2-F074-428C-8653-2CEE000EC49B}" dt="2021-01-07T07:51:21.013" v="249" actId="478"/>
          <ac:spMkLst>
            <pc:docMk/>
            <pc:sldMk cId="2645933736" sldId="318"/>
            <ac:spMk id="37" creationId="{16628D91-C37D-41C8-A84A-DDEB3E2C1246}"/>
          </ac:spMkLst>
        </pc:spChg>
        <pc:spChg chg="add mod">
          <ac:chgData name="Meyer Raphael (PAR-ES)" userId="79615dfe-ed48-4e74-a40f-4f7b034c1c27" providerId="ADAL" clId="{9E554EE2-F074-428C-8653-2CEE000EC49B}" dt="2021-01-21T09:53:09.666" v="784" actId="1076"/>
          <ac:spMkLst>
            <pc:docMk/>
            <pc:sldMk cId="2645933736" sldId="318"/>
            <ac:spMk id="38" creationId="{433E5755-DF97-4935-B55B-8FE60687245C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39" creationId="{FE186E75-D186-4772-93F4-4F2F80AEAE50}"/>
          </ac:spMkLst>
        </pc:spChg>
        <pc:spChg chg="add">
          <ac:chgData name="Meyer Raphael (PAR-ES)" userId="79615dfe-ed48-4e74-a40f-4f7b034c1c27" providerId="ADAL" clId="{9E554EE2-F074-428C-8653-2CEE000EC49B}" dt="2021-01-07T07:49:15.818" v="229"/>
          <ac:spMkLst>
            <pc:docMk/>
            <pc:sldMk cId="2645933736" sldId="318"/>
            <ac:spMk id="40" creationId="{805111CA-E54D-40DD-845E-7DC257217600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1" creationId="{D401EFED-E703-4D49-956F-221AF9E5347F}"/>
          </ac:spMkLst>
        </pc:spChg>
        <pc:spChg chg="add del mod">
          <ac:chgData name="Meyer Raphael (PAR-ES)" userId="79615dfe-ed48-4e74-a40f-4f7b034c1c27" providerId="ADAL" clId="{9E554EE2-F074-428C-8653-2CEE000EC49B}" dt="2021-01-07T07:53:14.057" v="271" actId="478"/>
          <ac:spMkLst>
            <pc:docMk/>
            <pc:sldMk cId="2645933736" sldId="318"/>
            <ac:spMk id="42" creationId="{FEB90A47-59A6-4994-B4EA-3CF72EB320B2}"/>
          </ac:spMkLst>
        </pc:spChg>
        <pc:spChg chg="add mod">
          <ac:chgData name="Meyer Raphael (PAR-ES)" userId="79615dfe-ed48-4e74-a40f-4f7b034c1c27" providerId="ADAL" clId="{9E554EE2-F074-428C-8653-2CEE000EC49B}" dt="2021-01-07T07:53:31.415" v="306" actId="552"/>
          <ac:spMkLst>
            <pc:docMk/>
            <pc:sldMk cId="2645933736" sldId="318"/>
            <ac:spMk id="43" creationId="{791E4A68-9F08-41F1-A948-D70410F3E3E7}"/>
          </ac:spMkLst>
        </pc:spChg>
        <pc:cxnChg chg="mod">
          <ac:chgData name="Meyer Raphael (PAR-ES)" userId="79615dfe-ed48-4e74-a40f-4f7b034c1c27" providerId="ADAL" clId="{9E554EE2-F074-428C-8653-2CEE000EC49B}" dt="2021-01-07T07:50:33.944" v="242" actId="1038"/>
          <ac:cxnSpMkLst>
            <pc:docMk/>
            <pc:sldMk cId="2645933736" sldId="318"/>
            <ac:cxnSpMk id="30" creationId="{1D702FCA-793F-404B-84D5-F14C318BFFB3}"/>
          </ac:cxnSpMkLst>
        </pc:cxnChg>
      </pc:sldChg>
      <pc:sldChg chg="modSp add mod">
        <pc:chgData name="Meyer Raphael (PAR-ES)" userId="79615dfe-ed48-4e74-a40f-4f7b034c1c27" providerId="ADAL" clId="{9E554EE2-F074-428C-8653-2CEE000EC49B}" dt="2021-01-12T08:30:20.013" v="532" actId="20577"/>
        <pc:sldMkLst>
          <pc:docMk/>
          <pc:sldMk cId="2817904021" sldId="319"/>
        </pc:sldMkLst>
        <pc:spChg chg="mod">
          <ac:chgData name="Meyer Raphael (PAR-ES)" userId="79615dfe-ed48-4e74-a40f-4f7b034c1c27" providerId="ADAL" clId="{9E554EE2-F074-428C-8653-2CEE000EC49B}" dt="2021-01-12T08:30:20.013" v="532" actId="20577"/>
          <ac:spMkLst>
            <pc:docMk/>
            <pc:sldMk cId="2817904021" sldId="319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26:38.089" v="449" actId="20577"/>
          <ac:spMkLst>
            <pc:docMk/>
            <pc:sldMk cId="2817904021" sldId="319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5:43.574" v="435"/>
          <ac:spMkLst>
            <pc:docMk/>
            <pc:sldMk cId="2817904021" sldId="319"/>
            <ac:spMk id="10" creationId="{077DFD58-E5EE-4B68-9325-D935DB04DD40}"/>
          </ac:spMkLst>
        </pc:spChg>
      </pc:sldChg>
      <pc:sldChg chg="modSp add mod">
        <pc:chgData name="Meyer Raphael (PAR-ES)" userId="79615dfe-ed48-4e74-a40f-4f7b034c1c27" providerId="ADAL" clId="{9E554EE2-F074-428C-8653-2CEE000EC49B}" dt="2021-01-12T08:30:48.964" v="551" actId="20577"/>
        <pc:sldMkLst>
          <pc:docMk/>
          <pc:sldMk cId="202659337" sldId="320"/>
        </pc:sldMkLst>
        <pc:spChg chg="mod">
          <ac:chgData name="Meyer Raphael (PAR-ES)" userId="79615dfe-ed48-4e74-a40f-4f7b034c1c27" providerId="ADAL" clId="{9E554EE2-F074-428C-8653-2CEE000EC49B}" dt="2021-01-12T08:30:48.964" v="551" actId="20577"/>
          <ac:spMkLst>
            <pc:docMk/>
            <pc:sldMk cId="202659337" sldId="320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9E554EE2-F074-428C-8653-2CEE000EC49B}" dt="2021-01-07T10:31:32.601" v="480" actId="1076"/>
          <ac:spMkLst>
            <pc:docMk/>
            <pc:sldMk cId="202659337" sldId="320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554EE2-F074-428C-8653-2CEE000EC49B}" dt="2021-01-07T10:26:44.985" v="455" actId="20577"/>
          <ac:spMkLst>
            <pc:docMk/>
            <pc:sldMk cId="202659337" sldId="320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9E554EE2-F074-428C-8653-2CEE000EC49B}" dt="2021-01-07T10:26:22.838" v="437"/>
          <ac:spMkLst>
            <pc:docMk/>
            <pc:sldMk cId="202659337" sldId="320"/>
            <ac:spMk id="10" creationId="{077DFD58-E5EE-4B68-9325-D935DB04DD40}"/>
          </ac:spMkLst>
        </pc:spChg>
        <pc:spChg chg="mod">
          <ac:chgData name="Meyer Raphael (PAR-ES)" userId="79615dfe-ed48-4e74-a40f-4f7b034c1c27" providerId="ADAL" clId="{9E554EE2-F074-428C-8653-2CEE000EC49B}" dt="2021-01-07T10:28:57.132" v="465" actId="20577"/>
          <ac:spMkLst>
            <pc:docMk/>
            <pc:sldMk cId="202659337" sldId="320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9E554EE2-F074-428C-8653-2CEE000EC49B}" dt="2021-01-07T10:31:26.811" v="479"/>
          <ac:graphicFrameMkLst>
            <pc:docMk/>
            <pc:sldMk cId="202659337" sldId="320"/>
            <ac:graphicFrameMk id="5" creationId="{4CF6AB8B-CAB9-4C7E-8E59-E00357A4D7F0}"/>
          </ac:graphicFrameMkLst>
        </pc:graphicFrameChg>
      </pc:sldChg>
      <pc:sldChg chg="addSp delSp modSp add ord">
        <pc:chgData name="Meyer Raphael (PAR-ES)" userId="79615dfe-ed48-4e74-a40f-4f7b034c1c27" providerId="ADAL" clId="{9E554EE2-F074-428C-8653-2CEE000EC49B}" dt="2021-01-21T09:56:37.710" v="868" actId="552"/>
        <pc:sldMkLst>
          <pc:docMk/>
          <pc:sldMk cId="1323358563" sldId="321"/>
        </pc:sldMkLst>
        <pc:spChg chg="mod">
          <ac:chgData name="Meyer Raphael (PAR-ES)" userId="79615dfe-ed48-4e74-a40f-4f7b034c1c27" providerId="ADAL" clId="{9E554EE2-F074-428C-8653-2CEE000EC49B}" dt="2021-01-21T09:53:31.860" v="786"/>
          <ac:spMkLst>
            <pc:docMk/>
            <pc:sldMk cId="1323358563" sldId="32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7" creationId="{BA3F9A72-0541-4D1F-8CD8-1C2B8074FA1B}"/>
          </ac:spMkLst>
        </pc:spChg>
        <pc:spChg chg="del mod">
          <ac:chgData name="Meyer Raphael (PAR-ES)" userId="79615dfe-ed48-4e74-a40f-4f7b034c1c27" providerId="ADAL" clId="{9E554EE2-F074-428C-8653-2CEE000EC49B}" dt="2021-01-21T09:53:04.407" v="782" actId="478"/>
          <ac:spMkLst>
            <pc:docMk/>
            <pc:sldMk cId="1323358563" sldId="32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3:42.141" v="787"/>
          <ac:spMkLst>
            <pc:docMk/>
            <pc:sldMk cId="1323358563" sldId="32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9E554EE2-F074-428C-8653-2CEE000EC49B}" dt="2021-01-21T09:52:59.490" v="780" actId="478"/>
          <ac:spMkLst>
            <pc:docMk/>
            <pc:sldMk cId="1323358563" sldId="32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4:09.324" v="793" actId="14100"/>
          <ac:spMkLst>
            <pc:docMk/>
            <pc:sldMk cId="1323358563" sldId="321"/>
            <ac:spMk id="27" creationId="{46A6B042-39EE-4A58-BBAA-13D52264B660}"/>
          </ac:spMkLst>
        </pc:spChg>
        <pc:spChg chg="del mod">
          <ac:chgData name="Meyer Raphael (PAR-ES)" userId="79615dfe-ed48-4e74-a40f-4f7b034c1c27" providerId="ADAL" clId="{9E554EE2-F074-428C-8653-2CEE000EC49B}" dt="2021-01-21T09:56:32.460" v="867" actId="478"/>
          <ac:spMkLst>
            <pc:docMk/>
            <pc:sldMk cId="1323358563" sldId="321"/>
            <ac:spMk id="33" creationId="{1263211D-7647-4ACE-B729-2338DF0FFB67}"/>
          </ac:spMkLst>
        </pc:spChg>
        <pc:spChg chg="add mod">
          <ac:chgData name="Meyer Raphael (PAR-ES)" userId="79615dfe-ed48-4e74-a40f-4f7b034c1c27" providerId="ADAL" clId="{9E554EE2-F074-428C-8653-2CEE000EC49B}" dt="2021-01-21T09:53:52.034" v="790" actId="20577"/>
          <ac:spMkLst>
            <pc:docMk/>
            <pc:sldMk cId="1323358563" sldId="321"/>
            <ac:spMk id="36" creationId="{D4DC81BC-ED45-48EA-A1B6-5307733395E7}"/>
          </ac:spMkLst>
        </pc:spChg>
        <pc:spChg chg="del">
          <ac:chgData name="Meyer Raphael (PAR-ES)" userId="79615dfe-ed48-4e74-a40f-4f7b034c1c27" providerId="ADAL" clId="{9E554EE2-F074-428C-8653-2CEE000EC49B}" dt="2021-01-21T09:55:28.730" v="800" actId="478"/>
          <ac:spMkLst>
            <pc:docMk/>
            <pc:sldMk cId="1323358563" sldId="321"/>
            <ac:spMk id="37" creationId="{16628D91-C37D-41C8-A84A-DDEB3E2C1246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8" creationId="{185C337F-F04B-4458-8929-AFEFB8A30B93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39" creationId="{3C3BAB7D-B76A-431B-A3CF-E8E9874AEDDB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0" creationId="{2405526E-D266-4909-9826-2E610648D89E}"/>
          </ac:spMkLst>
        </pc:spChg>
        <pc:spChg chg="add">
          <ac:chgData name="Meyer Raphael (PAR-ES)" userId="79615dfe-ed48-4e74-a40f-4f7b034c1c27" providerId="ADAL" clId="{9E554EE2-F074-428C-8653-2CEE000EC49B}" dt="2021-01-21T09:53:18.266" v="785"/>
          <ac:spMkLst>
            <pc:docMk/>
            <pc:sldMk cId="1323358563" sldId="321"/>
            <ac:spMk id="41" creationId="{57EC8687-199B-4B69-8E09-2647FB2A97CC}"/>
          </ac:spMkLst>
        </pc:spChg>
        <pc:spChg chg="add del">
          <ac:chgData name="Meyer Raphael (PAR-ES)" userId="79615dfe-ed48-4e74-a40f-4f7b034c1c27" providerId="ADAL" clId="{9E554EE2-F074-428C-8653-2CEE000EC49B}" dt="2021-01-21T09:55:24.111" v="799"/>
          <ac:spMkLst>
            <pc:docMk/>
            <pc:sldMk cId="1323358563" sldId="321"/>
            <ac:spMk id="42" creationId="{472566B9-E38B-4D71-AE34-470B18EB997C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3" creationId="{FF6F8D55-77CB-45DC-9997-9ECD8E1AAF90}"/>
          </ac:spMkLst>
        </pc:spChg>
        <pc:spChg chg="add mod">
          <ac:chgData name="Meyer Raphael (PAR-ES)" userId="79615dfe-ed48-4e74-a40f-4f7b034c1c27" providerId="ADAL" clId="{9E554EE2-F074-428C-8653-2CEE000EC49B}" dt="2021-01-21T09:56:37.710" v="868" actId="552"/>
          <ac:spMkLst>
            <pc:docMk/>
            <pc:sldMk cId="1323358563" sldId="321"/>
            <ac:spMk id="44" creationId="{6576F584-D2E4-4879-9894-BD2255E8118E}"/>
          </ac:spMkLst>
        </pc:spChg>
        <pc:cxnChg chg="mod">
          <ac:chgData name="Meyer Raphael (PAR-ES)" userId="79615dfe-ed48-4e74-a40f-4f7b034c1c27" providerId="ADAL" clId="{9E554EE2-F074-428C-8653-2CEE000EC49B}" dt="2021-01-21T09:54:30.514" v="796" actId="1038"/>
          <ac:cxnSpMkLst>
            <pc:docMk/>
            <pc:sldMk cId="1323358563" sldId="321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4:41.325" v="797" actId="14100"/>
          <ac:cxnSpMkLst>
            <pc:docMk/>
            <pc:sldMk cId="1323358563" sldId="321"/>
            <ac:cxnSpMk id="30" creationId="{1D702FCA-793F-404B-84D5-F14C318BFFB3}"/>
          </ac:cxnSpMkLst>
        </pc:cxnChg>
      </pc:sldChg>
      <pc:sldChg chg="addSp delSp modSp add ord">
        <pc:chgData name="Meyer Raphael (PAR-ES)" userId="79615dfe-ed48-4e74-a40f-4f7b034c1c27" providerId="ADAL" clId="{9E554EE2-F074-428C-8653-2CEE000EC49B}" dt="2021-01-21T09:52:42.167" v="779" actId="1038"/>
        <pc:sldMkLst>
          <pc:docMk/>
          <pc:sldMk cId="3034369345" sldId="322"/>
        </pc:sldMkLst>
        <pc:spChg chg="mod">
          <ac:chgData name="Meyer Raphael (PAR-ES)" userId="79615dfe-ed48-4e74-a40f-4f7b034c1c27" providerId="ADAL" clId="{9E554EE2-F074-428C-8653-2CEE000EC49B}" dt="2021-01-21T09:50:21.949" v="762"/>
          <ac:spMkLst>
            <pc:docMk/>
            <pc:sldMk cId="3034369345" sldId="322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7" creationId="{BA3F9A72-0541-4D1F-8CD8-1C2B8074FA1B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8" creationId="{5857C2A1-2CB8-4D4A-AEFD-E809BF73D04F}"/>
          </ac:spMkLst>
        </pc:spChg>
        <pc:spChg chg="add del mod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E554EE2-F074-428C-8653-2CEE000EC49B}" dt="2021-01-21T09:50:32.581" v="763"/>
          <ac:spMkLst>
            <pc:docMk/>
            <pc:sldMk cId="3034369345" sldId="322"/>
            <ac:spMk id="10" creationId="{077DFD58-E5EE-4B68-9325-D935DB04DD40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17" creationId="{785E740C-F94A-4208-8DFD-63A603C16577}"/>
          </ac:spMkLst>
        </pc:spChg>
        <pc:spChg chg="add del">
          <ac:chgData name="Meyer Raphael (PAR-ES)" userId="79615dfe-ed48-4e74-a40f-4f7b034c1c27" providerId="ADAL" clId="{9E554EE2-F074-428C-8653-2CEE000EC49B}" dt="2021-01-21T09:49:50.316" v="757" actId="478"/>
          <ac:spMkLst>
            <pc:docMk/>
            <pc:sldMk cId="3034369345" sldId="32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E554EE2-F074-428C-8653-2CEE000EC49B}" dt="2021-01-21T09:50:45.694" v="764"/>
          <ac:spMkLst>
            <pc:docMk/>
            <pc:sldMk cId="3034369345" sldId="322"/>
            <ac:spMk id="27" creationId="{46A6B042-39EE-4A58-BBAA-13D52264B660}"/>
          </ac:spMkLst>
        </pc:spChg>
        <pc:spChg chg="add del">
          <ac:chgData name="Meyer Raphael (PAR-ES)" userId="79615dfe-ed48-4e74-a40f-4f7b034c1c27" providerId="ADAL" clId="{9E554EE2-F074-428C-8653-2CEE000EC49B}" dt="2021-01-21T09:49:40.537" v="756" actId="478"/>
          <ac:spMkLst>
            <pc:docMk/>
            <pc:sldMk cId="3034369345" sldId="322"/>
            <ac:spMk id="31" creationId="{7491A47D-CAD4-478D-8F3A-296FFCB799F9}"/>
          </ac:spMkLst>
        </pc:spChg>
        <pc:spChg chg="add mod">
          <ac:chgData name="Meyer Raphael (PAR-ES)" userId="79615dfe-ed48-4e74-a40f-4f7b034c1c27" providerId="ADAL" clId="{9E554EE2-F074-428C-8653-2CEE000EC49B}" dt="2021-01-21T09:50:05.762" v="761" actId="20577"/>
          <ac:spMkLst>
            <pc:docMk/>
            <pc:sldMk cId="3034369345" sldId="322"/>
            <ac:spMk id="36" creationId="{E46C73A3-955A-4138-8A70-BDE6BF3C18CC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8" creationId="{E55F7D7A-8159-4331-B71E-6B6375E52D91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39" creationId="{4FB5514E-D8E9-4552-B7D9-D51242C3B12F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0" creationId="{69705190-6429-40E9-B39E-3D3F1D861106}"/>
          </ac:spMkLst>
        </pc:spChg>
        <pc:spChg chg="add">
          <ac:chgData name="Meyer Raphael (PAR-ES)" userId="79615dfe-ed48-4e74-a40f-4f7b034c1c27" providerId="ADAL" clId="{9E554EE2-F074-428C-8653-2CEE000EC49B}" dt="2021-01-21T09:50:00.355" v="758"/>
          <ac:spMkLst>
            <pc:docMk/>
            <pc:sldMk cId="3034369345" sldId="322"/>
            <ac:spMk id="41" creationId="{5FD2409B-796E-4579-8AE2-D135B91D280A}"/>
          </ac:spMkLst>
        </pc:spChg>
        <pc:cxnChg chg="mod">
          <ac:chgData name="Meyer Raphael (PAR-ES)" userId="79615dfe-ed48-4e74-a40f-4f7b034c1c27" providerId="ADAL" clId="{9E554EE2-F074-428C-8653-2CEE000EC49B}" dt="2021-01-21T09:52:42.167" v="779" actId="1038"/>
          <ac:cxnSpMkLst>
            <pc:docMk/>
            <pc:sldMk cId="3034369345" sldId="322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E554EE2-F074-428C-8653-2CEE000EC49B}" dt="2021-01-21T09:52:27.017" v="777" actId="14100"/>
          <ac:cxnSpMkLst>
            <pc:docMk/>
            <pc:sldMk cId="3034369345" sldId="322"/>
            <ac:cxnSpMk id="30" creationId="{1D702FCA-793F-404B-84D5-F14C318BFFB3}"/>
          </ac:cxnSpMkLst>
        </pc:cxnChg>
      </pc:sldChg>
    </pc:docChg>
  </pc:docChgLst>
  <pc:docChgLst>
    <pc:chgData name="Meyer Raphael (PAR-ES)" userId="79615dfe-ed48-4e74-a40f-4f7b034c1c27" providerId="ADAL" clId="{0F6412C6-CA40-442D-8083-EB596FC2A673}"/>
    <pc:docChg chg="custSel addSld modSld sldOrd">
      <pc:chgData name="Meyer Raphael (PAR-ES)" userId="79615dfe-ed48-4e74-a40f-4f7b034c1c27" providerId="ADAL" clId="{0F6412C6-CA40-442D-8083-EB596FC2A673}" dt="2021-11-02T14:47:56.470" v="75"/>
      <pc:docMkLst>
        <pc:docMk/>
      </pc:docMkLst>
      <pc:sldChg chg="modSp mod">
        <pc:chgData name="Meyer Raphael (PAR-ES)" userId="79615dfe-ed48-4e74-a40f-4f7b034c1c27" providerId="ADAL" clId="{0F6412C6-CA40-442D-8083-EB596FC2A673}" dt="2021-11-02T14:42:11.138" v="57" actId="6549"/>
        <pc:sldMkLst>
          <pc:docMk/>
          <pc:sldMk cId="3808035539" sldId="270"/>
        </pc:sldMkLst>
        <pc:spChg chg="mod">
          <ac:chgData name="Meyer Raphael (PAR-ES)" userId="79615dfe-ed48-4e74-a40f-4f7b034c1c27" providerId="ADAL" clId="{0F6412C6-CA40-442D-8083-EB596FC2A673}" dt="2021-11-02T14:42:11.138" v="57" actId="6549"/>
          <ac:spMkLst>
            <pc:docMk/>
            <pc:sldMk cId="3808035539" sldId="270"/>
            <ac:spMk id="3" creationId="{00000000-0000-0000-0000-000000000000}"/>
          </ac:spMkLst>
        </pc:spChg>
      </pc:sldChg>
      <pc:sldChg chg="modSp add mod ord">
        <pc:chgData name="Meyer Raphael (PAR-ES)" userId="79615dfe-ed48-4e74-a40f-4f7b034c1c27" providerId="ADAL" clId="{0F6412C6-CA40-442D-8083-EB596FC2A673}" dt="2021-11-02T14:42:03.501" v="56" actId="20577"/>
        <pc:sldMkLst>
          <pc:docMk/>
          <pc:sldMk cId="3677740869" sldId="271"/>
        </pc:sldMkLst>
        <pc:spChg chg="mod">
          <ac:chgData name="Meyer Raphael (PAR-ES)" userId="79615dfe-ed48-4e74-a40f-4f7b034c1c27" providerId="ADAL" clId="{0F6412C6-CA40-442D-8083-EB596FC2A673}" dt="2021-11-02T14:35:48.076" v="15"/>
          <ac:spMkLst>
            <pc:docMk/>
            <pc:sldMk cId="3677740869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2:03.501" v="56" actId="20577"/>
          <ac:spMkLst>
            <pc:docMk/>
            <pc:sldMk cId="3677740869" sldId="271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36:44.642" v="18" actId="20577"/>
          <ac:spMkLst>
            <pc:docMk/>
            <pc:sldMk cId="3677740869" sldId="271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4:11.596" v="60"/>
        <pc:sldMkLst>
          <pc:docMk/>
          <pc:sldMk cId="1963209825" sldId="272"/>
        </pc:sldMkLst>
        <pc:spChg chg="mod">
          <ac:chgData name="Meyer Raphael (PAR-ES)" userId="79615dfe-ed48-4e74-a40f-4f7b034c1c27" providerId="ADAL" clId="{0F6412C6-CA40-442D-8083-EB596FC2A673}" dt="2021-11-02T14:44:11.596" v="60"/>
          <ac:spMkLst>
            <pc:docMk/>
            <pc:sldMk cId="1963209825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1:37.188" v="43" actId="6549"/>
          <ac:spMkLst>
            <pc:docMk/>
            <pc:sldMk cId="1963209825" sldId="272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0:48.901" v="24" actId="20577"/>
          <ac:spMkLst>
            <pc:docMk/>
            <pc:sldMk cId="1963209825" sldId="272"/>
            <ac:spMk id="5" creationId="{00000000-0000-0000-0000-000000000000}"/>
          </ac:spMkLst>
        </pc:spChg>
      </pc:sldChg>
      <pc:sldChg chg="modSp add mod">
        <pc:chgData name="Meyer Raphael (PAR-ES)" userId="79615dfe-ed48-4e74-a40f-4f7b034c1c27" providerId="ADAL" clId="{0F6412C6-CA40-442D-8083-EB596FC2A673}" dt="2021-11-02T14:47:56.470" v="75"/>
        <pc:sldMkLst>
          <pc:docMk/>
          <pc:sldMk cId="1065586608" sldId="273"/>
        </pc:sldMkLst>
        <pc:spChg chg="mod">
          <ac:chgData name="Meyer Raphael (PAR-ES)" userId="79615dfe-ed48-4e74-a40f-4f7b034c1c27" providerId="ADAL" clId="{0F6412C6-CA40-442D-8083-EB596FC2A673}" dt="2021-11-02T14:47:56.470" v="75"/>
          <ac:spMkLst>
            <pc:docMk/>
            <pc:sldMk cId="1065586608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19.183" v="70" actId="6549"/>
          <ac:spMkLst>
            <pc:docMk/>
            <pc:sldMk cId="1065586608" sldId="273"/>
            <ac:spMk id="3" creationId="{00000000-0000-0000-0000-000000000000}"/>
          </ac:spMkLst>
        </pc:spChg>
        <pc:spChg chg="mod">
          <ac:chgData name="Meyer Raphael (PAR-ES)" userId="79615dfe-ed48-4e74-a40f-4f7b034c1c27" providerId="ADAL" clId="{0F6412C6-CA40-442D-8083-EB596FC2A673}" dt="2021-11-02T14:46:33.270" v="73" actId="20577"/>
          <ac:spMkLst>
            <pc:docMk/>
            <pc:sldMk cId="1065586608" sldId="273"/>
            <ac:spMk id="5" creationId="{00000000-0000-0000-0000-000000000000}"/>
          </ac:spMkLst>
        </pc:spChg>
      </pc:sldChg>
    </pc:docChg>
  </pc:docChgLst>
  <pc:docChgLst>
    <pc:chgData name="Meyer Raphael (PAR-ES)" userId="79615dfe-ed48-4e74-a40f-4f7b034c1c27" providerId="ADAL" clId="{BD78FBA8-28CB-4801-9164-9A1036786C5F}"/>
    <pc:docChg chg="addSld modSld sldOrd">
      <pc:chgData name="Meyer Raphael (PAR-ES)" userId="79615dfe-ed48-4e74-a40f-4f7b034c1c27" providerId="ADAL" clId="{BD78FBA8-28CB-4801-9164-9A1036786C5F}" dt="2021-06-14T07:38:53.770" v="47"/>
      <pc:docMkLst>
        <pc:docMk/>
      </pc:docMkLst>
      <pc:sldChg chg="modSp mod">
        <pc:chgData name="Meyer Raphael (PAR-ES)" userId="79615dfe-ed48-4e74-a40f-4f7b034c1c27" providerId="ADAL" clId="{BD78FBA8-28CB-4801-9164-9A1036786C5F}" dt="2021-06-14T07:36:21.039" v="39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D78FBA8-28CB-4801-9164-9A1036786C5F}" dt="2021-06-14T07:36:21.039" v="39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BD78FBA8-28CB-4801-9164-9A1036786C5F}" dt="2021-06-14T07:36:21.039" v="3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add ord">
        <pc:chgData name="Meyer Raphael (PAR-ES)" userId="79615dfe-ed48-4e74-a40f-4f7b034c1c27" providerId="ADAL" clId="{BD78FBA8-28CB-4801-9164-9A1036786C5F}" dt="2021-06-14T07:38:53.770" v="47"/>
        <pc:sldMkLst>
          <pc:docMk/>
          <pc:sldMk cId="1559304935" sldId="363"/>
        </pc:sldMkLst>
        <pc:spChg chg="mod">
          <ac:chgData name="Meyer Raphael (PAR-ES)" userId="79615dfe-ed48-4e74-a40f-4f7b034c1c27" providerId="ADAL" clId="{BD78FBA8-28CB-4801-9164-9A1036786C5F}" dt="2021-06-14T07:38:44.702" v="46"/>
          <ac:spMkLst>
            <pc:docMk/>
            <pc:sldMk cId="1559304935" sldId="363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BD78FBA8-28CB-4801-9164-9A1036786C5F}" dt="2021-06-14T07:38:53.770" v="47"/>
          <ac:spMkLst>
            <pc:docMk/>
            <pc:sldMk cId="1559304935" sldId="363"/>
            <ac:spMk id="10" creationId="{077DFD58-E5EE-4B68-9325-D935DB04DD40}"/>
          </ac:spMkLst>
        </pc:spChg>
      </pc:sldChg>
      <pc:sldChg chg="add ord">
        <pc:chgData name="Meyer Raphael (PAR-ES)" userId="79615dfe-ed48-4e74-a40f-4f7b034c1c27" providerId="ADAL" clId="{BD78FBA8-28CB-4801-9164-9A1036786C5F}" dt="2021-06-14T07:38:30.720" v="43"/>
        <pc:sldMkLst>
          <pc:docMk/>
          <pc:sldMk cId="2043265091" sldId="364"/>
        </pc:sldMkLst>
      </pc:sldChg>
    </pc:docChg>
  </pc:docChgLst>
  <pc:docChgLst>
    <pc:chgData name="Meyer Raphael (PAR-ES)" userId="79615dfe-ed48-4e74-a40f-4f7b034c1c27" providerId="ADAL" clId="{5BDC4DE6-AEE0-4FC4-A6D7-CBAF56E9819B}"/>
    <pc:docChg chg="undo redo custSel addSld delSld modSld sldOrd modMainMaster">
      <pc:chgData name="Meyer Raphael (PAR-ES)" userId="79615dfe-ed48-4e74-a40f-4f7b034c1c27" providerId="ADAL" clId="{5BDC4DE6-AEE0-4FC4-A6D7-CBAF56E9819B}" dt="2021-10-20T08:26:05.944" v="339"/>
      <pc:docMkLst>
        <pc:docMk/>
      </pc:docMkLst>
      <pc:sldChg chg="modSp del mod">
        <pc:chgData name="Meyer Raphael (PAR-ES)" userId="79615dfe-ed48-4e74-a40f-4f7b034c1c27" providerId="ADAL" clId="{5BDC4DE6-AEE0-4FC4-A6D7-CBAF56E9819B}" dt="2021-10-19T12:51:52.524" v="244" actId="47"/>
        <pc:sldMkLst>
          <pc:docMk/>
          <pc:sldMk cId="1537997412" sldId="373"/>
        </pc:sldMkLst>
        <pc:spChg chg="mod">
          <ac:chgData name="Meyer Raphael (PAR-ES)" userId="79615dfe-ed48-4e74-a40f-4f7b034c1c27" providerId="ADAL" clId="{5BDC4DE6-AEE0-4FC4-A6D7-CBAF56E9819B}" dt="2021-10-19T12:29:43.220" v="3" actId="207"/>
          <ac:spMkLst>
            <pc:docMk/>
            <pc:sldMk cId="1537997412" sldId="373"/>
            <ac:spMk id="2" creationId="{5E8A4EFD-4DC4-43AA-95D5-75F07C9AB845}"/>
          </ac:spMkLst>
        </pc:spChg>
        <pc:spChg chg="mod">
          <ac:chgData name="Meyer Raphael (PAR-ES)" userId="79615dfe-ed48-4e74-a40f-4f7b034c1c27" providerId="ADAL" clId="{5BDC4DE6-AEE0-4FC4-A6D7-CBAF56E9819B}" dt="2021-10-19T12:40:05.858" v="51" actId="120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5BDC4DE6-AEE0-4FC4-A6D7-CBAF56E9819B}" dt="2021-10-19T12:51:12.456" v="242" actId="2085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5BDC4DE6-AEE0-4FC4-A6D7-CBAF56E9819B}" dt="2021-10-19T12:50:48.441" v="240" actId="208"/>
          <ac:spMkLst>
            <pc:docMk/>
            <pc:sldMk cId="1537997412" sldId="373"/>
            <ac:spMk id="24" creationId="{FD07A55C-6879-4E52-B5A8-38679864E2FC}"/>
          </ac:spMkLst>
        </pc:spChg>
        <pc:spChg chg="mod">
          <ac:chgData name="Meyer Raphael (PAR-ES)" userId="79615dfe-ed48-4e74-a40f-4f7b034c1c27" providerId="ADAL" clId="{5BDC4DE6-AEE0-4FC4-A6D7-CBAF56E9819B}" dt="2021-10-19T12:28:37.530" v="0" actId="255"/>
          <ac:spMkLst>
            <pc:docMk/>
            <pc:sldMk cId="1537997412" sldId="373"/>
            <ac:spMk id="26" creationId="{B2A2B17F-5283-4548-8C7D-95077C2EAD04}"/>
          </ac:spMkLst>
        </pc:spChg>
        <pc:spChg chg="mod">
          <ac:chgData name="Meyer Raphael (PAR-ES)" userId="79615dfe-ed48-4e74-a40f-4f7b034c1c27" providerId="ADAL" clId="{5BDC4DE6-AEE0-4FC4-A6D7-CBAF56E9819B}" dt="2021-10-19T12:51:09.724" v="241" actId="2085"/>
          <ac:spMkLst>
            <pc:docMk/>
            <pc:sldMk cId="1537997412" sldId="373"/>
            <ac:spMk id="28" creationId="{582710AA-075B-42A9-AAE8-776AAD968DF6}"/>
          </ac:spMkLst>
        </pc:spChg>
        <pc:graphicFrameChg chg="mod">
          <ac:chgData name="Meyer Raphael (PAR-ES)" userId="79615dfe-ed48-4e74-a40f-4f7b034c1c27" providerId="ADAL" clId="{5BDC4DE6-AEE0-4FC4-A6D7-CBAF56E9819B}" dt="2021-10-19T12:40:48.750" v="55" actId="14100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5BDC4DE6-AEE0-4FC4-A6D7-CBAF56E9819B}" dt="2021-10-19T12:34:19.550" v="6" actId="208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del mod ord">
        <pc:chgData name="Meyer Raphael (PAR-ES)" userId="79615dfe-ed48-4e74-a40f-4f7b034c1c27" providerId="ADAL" clId="{5BDC4DE6-AEE0-4FC4-A6D7-CBAF56E9819B}" dt="2021-10-19T13:12:48.434" v="292" actId="47"/>
        <pc:sldMkLst>
          <pc:docMk/>
          <pc:sldMk cId="1860183250" sldId="377"/>
        </pc:sldMkLst>
        <pc:spChg chg="mod">
          <ac:chgData name="Meyer Raphael (PAR-ES)" userId="79615dfe-ed48-4e74-a40f-4f7b034c1c27" providerId="ADAL" clId="{5BDC4DE6-AEE0-4FC4-A6D7-CBAF56E9819B}" dt="2021-10-19T12:28:44.098" v="1" actId="255"/>
          <ac:spMkLst>
            <pc:docMk/>
            <pc:sldMk cId="1860183250" sldId="377"/>
            <ac:spMk id="23" creationId="{BB914326-7AE8-4E56-8D70-FE10C57F72D7}"/>
          </ac:spMkLst>
        </pc:spChg>
      </pc:sldChg>
      <pc:sldChg chg="modSp del mod">
        <pc:chgData name="Meyer Raphael (PAR-ES)" userId="79615dfe-ed48-4e74-a40f-4f7b034c1c27" providerId="ADAL" clId="{5BDC4DE6-AEE0-4FC4-A6D7-CBAF56E9819B}" dt="2021-10-19T13:18:57.314" v="328" actId="47"/>
        <pc:sldMkLst>
          <pc:docMk/>
          <pc:sldMk cId="3254615737" sldId="378"/>
        </pc:sldMkLst>
        <pc:spChg chg="mod">
          <ac:chgData name="Meyer Raphael (PAR-ES)" userId="79615dfe-ed48-4e74-a40f-4f7b034c1c27" providerId="ADAL" clId="{5BDC4DE6-AEE0-4FC4-A6D7-CBAF56E9819B}" dt="2021-10-19T12:28:50.641" v="2" actId="255"/>
          <ac:spMkLst>
            <pc:docMk/>
            <pc:sldMk cId="3254615737" sldId="378"/>
            <ac:spMk id="23" creationId="{C7EA10FB-93CC-4AA7-954F-92959A012B4C}"/>
          </ac:spMkLst>
        </pc:spChg>
      </pc:sldChg>
      <pc:sldChg chg="new del">
        <pc:chgData name="Meyer Raphael (PAR-ES)" userId="79615dfe-ed48-4e74-a40f-4f7b034c1c27" providerId="ADAL" clId="{5BDC4DE6-AEE0-4FC4-A6D7-CBAF56E9819B}" dt="2021-10-19T12:35:27.906" v="9" actId="2696"/>
        <pc:sldMkLst>
          <pc:docMk/>
          <pc:sldMk cId="189337811" sldId="379"/>
        </pc:sldMkLst>
      </pc:sldChg>
      <pc:sldChg chg="addSp delSp modSp add del mod modNotesTx">
        <pc:chgData name="Meyer Raphael (PAR-ES)" userId="79615dfe-ed48-4e74-a40f-4f7b034c1c27" providerId="ADAL" clId="{5BDC4DE6-AEE0-4FC4-A6D7-CBAF56E9819B}" dt="2021-10-20T08:26:05.944" v="339"/>
        <pc:sldMkLst>
          <pc:docMk/>
          <pc:sldMk cId="1199121354" sldId="417"/>
        </pc:sldMkLst>
        <pc:spChg chg="del">
          <ac:chgData name="Meyer Raphael (PAR-ES)" userId="79615dfe-ed48-4e74-a40f-4f7b034c1c27" providerId="ADAL" clId="{5BDC4DE6-AEE0-4FC4-A6D7-CBAF56E9819B}" dt="2021-10-19T12:41:25.427" v="58" actId="478"/>
          <ac:spMkLst>
            <pc:docMk/>
            <pc:sldMk cId="1199121354" sldId="417"/>
            <ac:spMk id="3" creationId="{81D85563-85B7-4BE0-9014-757DF2B14631}"/>
          </ac:spMkLst>
        </pc:spChg>
        <pc:spChg chg="del">
          <ac:chgData name="Meyer Raphael (PAR-ES)" userId="79615dfe-ed48-4e74-a40f-4f7b034c1c27" providerId="ADAL" clId="{5BDC4DE6-AEE0-4FC4-A6D7-CBAF56E9819B}" dt="2021-10-19T12:51:44.732" v="243" actId="478"/>
          <ac:spMkLst>
            <pc:docMk/>
            <pc:sldMk cId="1199121354" sldId="417"/>
            <ac:spMk id="4" creationId="{8B992646-8B87-4BF7-B103-FB9C4D8806E0}"/>
          </ac:spMkLst>
        </pc:spChg>
        <pc:spChg chg="add del mod">
          <ac:chgData name="Meyer Raphael (PAR-ES)" userId="79615dfe-ed48-4e74-a40f-4f7b034c1c27" providerId="ADAL" clId="{5BDC4DE6-AEE0-4FC4-A6D7-CBAF56E9819B}" dt="2021-10-19T12:41:29.708" v="59" actId="478"/>
          <ac:spMkLst>
            <pc:docMk/>
            <pc:sldMk cId="1199121354" sldId="417"/>
            <ac:spMk id="5" creationId="{4A465223-3DBF-44A6-961C-0E631C20DB8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9" creationId="{F70BA3D6-38B0-481C-8A0D-51F378728B1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18" creationId="{4D61A480-4375-4E7D-845D-FEA84CE9277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0" creationId="{BF4350EB-45E0-46D5-8DEB-774EE2C45342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1" creationId="{2C725245-EFA2-4BB9-9551-1521B4A61D70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2" creationId="{6D4770D2-A240-46AA-914B-7F3F8B23F92F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3" creationId="{6A9D8C72-2A13-4E03-88F6-2938FB5D8ED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27" creationId="{8EDBFB5F-27ED-4596-9E05-87CF9C4ADD1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30" creationId="{D3D42411-BE14-4553-B813-E619B987CCC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2" creationId="{47134A6E-0CFD-4C70-BDB7-952DDD2B62F5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3" creationId="{E4BD6B9B-73EF-41CF-B331-47D10F440456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4" creationId="{8E7CFBFF-CA18-46D2-88F2-09D880D7CB47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5" creationId="{D197CDE1-7E32-4A76-AA03-0737FEF707EC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6" creationId="{723475C1-9FA4-49E7-8B98-E47E3554B531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7" creationId="{DDF7F85A-6345-49B3-A0F0-70C890DEC449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8" creationId="{5215BE24-8823-4A0D-A314-B6816F73075A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49" creationId="{9D09A6A0-0339-446B-8C7B-596A0DE96E4E}"/>
          </ac:spMkLst>
        </pc:spChg>
        <pc:spChg chg="del">
          <ac:chgData name="Meyer Raphael (PAR-ES)" userId="79615dfe-ed48-4e74-a40f-4f7b034c1c27" providerId="ADAL" clId="{5BDC4DE6-AEE0-4FC4-A6D7-CBAF56E9819B}" dt="2021-10-19T12:41:21.461" v="57" actId="478"/>
          <ac:spMkLst>
            <pc:docMk/>
            <pc:sldMk cId="1199121354" sldId="417"/>
            <ac:spMk id="50" creationId="{2F80CDAB-6693-427E-B826-C619845B829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3" creationId="{CA8629B4-B72B-41CF-828C-22EAFDC67081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5" creationId="{93F73DE2-6A51-4A7F-BC84-1AF48150C1D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6" creationId="{88CCB16A-02C4-4A91-9CB8-C580F7CFEBCE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59" creationId="{FD945A8B-0A9B-4D36-9D8E-7B57385A46DF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0" creationId="{81A5F23D-8B28-425C-8347-C6063107E047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1" creationId="{30F17C3A-1B2D-4078-8434-07AA6A114385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2" creationId="{468AAB52-3ACA-4B59-8C12-88F5D5757029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3" creationId="{EC407985-9F31-4959-AE2E-AE6E8EF5663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6" creationId="{16D25EC2-FF5F-4462-80C4-EABC073642F3}"/>
          </ac:spMkLst>
        </pc:spChg>
        <pc:spChg chg="add del mod">
          <ac:chgData name="Meyer Raphael (PAR-ES)" userId="79615dfe-ed48-4e74-a40f-4f7b034c1c27" providerId="ADAL" clId="{5BDC4DE6-AEE0-4FC4-A6D7-CBAF56E9819B}" dt="2021-10-19T12:41:42.293" v="63"/>
          <ac:spMkLst>
            <pc:docMk/>
            <pc:sldMk cId="1199121354" sldId="417"/>
            <ac:spMk id="67" creationId="{5CD34814-22F9-4E27-BBF9-B3B50AAEC510}"/>
          </ac:spMkLst>
        </pc:spChg>
        <pc:spChg chg="add mod">
          <ac:chgData name="Meyer Raphael (PAR-ES)" userId="79615dfe-ed48-4e74-a40f-4f7b034c1c27" providerId="ADAL" clId="{5BDC4DE6-AEE0-4FC4-A6D7-CBAF56E9819B}" dt="2021-10-19T12:48:06.231" v="199" actId="1038"/>
          <ac:spMkLst>
            <pc:docMk/>
            <pc:sldMk cId="1199121354" sldId="417"/>
            <ac:spMk id="70" creationId="{97128262-C4DB-45FF-9830-B2B3CB59FCB9}"/>
          </ac:spMkLst>
        </pc:spChg>
        <pc:spChg chg="add mod">
          <ac:chgData name="Meyer Raphael (PAR-ES)" userId="79615dfe-ed48-4e74-a40f-4f7b034c1c27" providerId="ADAL" clId="{5BDC4DE6-AEE0-4FC4-A6D7-CBAF56E9819B}" dt="2021-10-19T12:42:26.402" v="71" actId="1036"/>
          <ac:spMkLst>
            <pc:docMk/>
            <pc:sldMk cId="1199121354" sldId="417"/>
            <ac:spMk id="72" creationId="{6F9FBCE7-5D15-4CAA-93AE-6B499E43CCB1}"/>
          </ac:spMkLst>
        </pc:spChg>
        <pc:spChg chg="add mod">
          <ac:chgData name="Meyer Raphael (PAR-ES)" userId="79615dfe-ed48-4e74-a40f-4f7b034c1c27" providerId="ADAL" clId="{5BDC4DE6-AEE0-4FC4-A6D7-CBAF56E9819B}" dt="2021-10-19T12:48:41.948" v="236" actId="1038"/>
          <ac:spMkLst>
            <pc:docMk/>
            <pc:sldMk cId="1199121354" sldId="417"/>
            <ac:spMk id="73" creationId="{B5D91A14-94DF-47AC-B0A6-03933B02977C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6" creationId="{5557F6F9-66AD-4DED-9A42-7FB08C22F3FB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7" creationId="{173BBFC2-588A-4D4B-A34B-619BBA0689E6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8" creationId="{B20A57DC-4D38-4065-B8FA-8ECB9A858165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79" creationId="{1630E9BD-5F7C-4F45-B986-3CEE5B7EF86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0" creationId="{0B09E808-A6DF-45C1-94FD-29227B7F4709}"/>
          </ac:spMkLst>
        </pc:spChg>
        <pc:spChg chg="add mod">
          <ac:chgData name="Meyer Raphael (PAR-ES)" userId="79615dfe-ed48-4e74-a40f-4f7b034c1c27" providerId="ADAL" clId="{5BDC4DE6-AEE0-4FC4-A6D7-CBAF56E9819B}" dt="2021-10-19T12:48:16.470" v="201" actId="1076"/>
          <ac:spMkLst>
            <pc:docMk/>
            <pc:sldMk cId="1199121354" sldId="417"/>
            <ac:spMk id="83" creationId="{B8DCE921-BC0E-49AB-ADDE-F6CE5BB90E92}"/>
          </ac:spMkLst>
        </pc:spChg>
        <pc:spChg chg="add mod">
          <ac:chgData name="Meyer Raphael (PAR-ES)" userId="79615dfe-ed48-4e74-a40f-4f7b034c1c27" providerId="ADAL" clId="{5BDC4DE6-AEE0-4FC4-A6D7-CBAF56E9819B}" dt="2021-10-19T12:41:42.316" v="64"/>
          <ac:spMkLst>
            <pc:docMk/>
            <pc:sldMk cId="1199121354" sldId="417"/>
            <ac:spMk id="84" creationId="{F08B6033-FC3D-4B76-85D8-914B11407B3C}"/>
          </ac:spMkLst>
        </pc:s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1" creationId="{381633ED-7E60-4EF5-ABDE-0A6E66941F1E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19" creationId="{CD4175A5-40B1-4B70-83E4-D1AC8E7D49C8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2" creationId="{31592520-ECF4-44BB-948B-4F969CB683CC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6" creationId="{70BADF19-335E-4E30-A9C6-AAE735CA9D31}"/>
          </ac:grpSpMkLst>
        </pc:grpChg>
        <pc:grpChg chg="del">
          <ac:chgData name="Meyer Raphael (PAR-ES)" userId="79615dfe-ed48-4e74-a40f-4f7b034c1c27" providerId="ADAL" clId="{5BDC4DE6-AEE0-4FC4-A6D7-CBAF56E9819B}" dt="2021-10-19T12:41:21.461" v="57" actId="478"/>
          <ac:grpSpMkLst>
            <pc:docMk/>
            <pc:sldMk cId="1199121354" sldId="417"/>
            <ac:grpSpMk id="39" creationId="{F499651E-79A4-4EAE-9A7E-6E7B49050531}"/>
          </ac:grpSpMkLst>
        </pc:grpChg>
        <pc:graphicFrameChg chg="add del mod">
          <ac:chgData name="Meyer Raphael (PAR-ES)" userId="79615dfe-ed48-4e74-a40f-4f7b034c1c27" providerId="ADAL" clId="{5BDC4DE6-AEE0-4FC4-A6D7-CBAF56E9819B}" dt="2021-10-19T12:41:42.293" v="63"/>
          <ac:graphicFrameMkLst>
            <pc:docMk/>
            <pc:sldMk cId="1199121354" sldId="417"/>
            <ac:graphicFrameMk id="51" creationId="{0857285B-009C-4C3E-B02D-E05A3AEE6F5F}"/>
          </ac:graphicFrameMkLst>
        </pc:graphicFrameChg>
        <pc:graphicFrameChg chg="add mod">
          <ac:chgData name="Meyer Raphael (PAR-ES)" userId="79615dfe-ed48-4e74-a40f-4f7b034c1c27" providerId="ADAL" clId="{5BDC4DE6-AEE0-4FC4-A6D7-CBAF56E9819B}" dt="2021-10-19T12:46:44.409" v="173"/>
          <ac:graphicFrameMkLst>
            <pc:docMk/>
            <pc:sldMk cId="1199121354" sldId="417"/>
            <ac:graphicFrameMk id="68" creationId="{41D4B4B9-45BD-4B09-B57A-D7C615C4CD23}"/>
          </ac:graphicFrameMkLst>
        </pc:graphicFrameChg>
        <pc:graphicFrameChg chg="add del mod">
          <ac:chgData name="Meyer Raphael (PAR-ES)" userId="79615dfe-ed48-4e74-a40f-4f7b034c1c27" providerId="ADAL" clId="{5BDC4DE6-AEE0-4FC4-A6D7-CBAF56E9819B}" dt="2021-10-19T12:45:59.908" v="171" actId="478"/>
          <ac:graphicFrameMkLst>
            <pc:docMk/>
            <pc:sldMk cId="1199121354" sldId="417"/>
            <ac:graphicFrameMk id="85" creationId="{08BC2BD6-BD93-4DA9-9ABD-A9DEC97CA7D1}"/>
          </ac:graphicFrameMkLst>
        </pc:graphicFrameChg>
        <pc:cxnChg chg="add del mod">
          <ac:chgData name="Meyer Raphael (PAR-ES)" userId="79615dfe-ed48-4e74-a40f-4f7b034c1c27" providerId="ADAL" clId="{5BDC4DE6-AEE0-4FC4-A6D7-CBAF56E9819B}" dt="2021-10-19T12:46:56.872" v="174" actId="478"/>
          <ac:cxnSpMkLst>
            <pc:docMk/>
            <pc:sldMk cId="1199121354" sldId="417"/>
            <ac:cxnSpMk id="7" creationId="{39AD7DAF-3336-4F8F-AAAB-7455DF6655C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2" creationId="{BCE94ADE-5EA0-41D6-B857-09AAE153FB7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4" creationId="{AC02757B-DF32-4B11-A1B6-E6603C463F1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7" creationId="{E3EFA056-559D-4F93-98BA-46F47EDA0B4F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58" creationId="{B7EEEFEC-0DDE-417D-A37E-6387DC936A8C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4" creationId="{009F0525-6953-423A-A0C5-BE7F93368B43}"/>
          </ac:cxnSpMkLst>
        </pc:cxnChg>
        <pc:cxnChg chg="add del mod">
          <ac:chgData name="Meyer Raphael (PAR-ES)" userId="79615dfe-ed48-4e74-a40f-4f7b034c1c27" providerId="ADAL" clId="{5BDC4DE6-AEE0-4FC4-A6D7-CBAF56E9819B}" dt="2021-10-19T12:41:42.293" v="63"/>
          <ac:cxnSpMkLst>
            <pc:docMk/>
            <pc:sldMk cId="1199121354" sldId="417"/>
            <ac:cxnSpMk id="65" creationId="{F82B5FEE-B681-4AD5-A8BE-F2CEC176AAF7}"/>
          </ac:cxnSpMkLst>
        </pc:cxnChg>
        <pc:cxnChg chg="add mod">
          <ac:chgData name="Meyer Raphael (PAR-ES)" userId="79615dfe-ed48-4e74-a40f-4f7b034c1c27" providerId="ADAL" clId="{5BDC4DE6-AEE0-4FC4-A6D7-CBAF56E9819B}" dt="2021-10-19T12:48:06.231" v="199" actId="1038"/>
          <ac:cxnSpMkLst>
            <pc:docMk/>
            <pc:sldMk cId="1199121354" sldId="417"/>
            <ac:cxnSpMk id="69" creationId="{46E56FF7-63FD-4F29-A682-A41C68B2DFB4}"/>
          </ac:cxnSpMkLst>
        </pc:cxnChg>
        <pc:cxnChg chg="add mod">
          <ac:chgData name="Meyer Raphael (PAR-ES)" userId="79615dfe-ed48-4e74-a40f-4f7b034c1c27" providerId="ADAL" clId="{5BDC4DE6-AEE0-4FC4-A6D7-CBAF56E9819B}" dt="2021-10-19T12:48:41.948" v="236" actId="1038"/>
          <ac:cxnSpMkLst>
            <pc:docMk/>
            <pc:sldMk cId="1199121354" sldId="417"/>
            <ac:cxnSpMk id="71" creationId="{B11A0BDA-48C0-4B0E-946A-61B766F1FFE8}"/>
          </ac:cxnSpMkLst>
        </pc:cxnChg>
        <pc:cxnChg chg="add mod">
          <ac:chgData name="Meyer Raphael (PAR-ES)" userId="79615dfe-ed48-4e74-a40f-4f7b034c1c27" providerId="ADAL" clId="{5BDC4DE6-AEE0-4FC4-A6D7-CBAF56E9819B}" dt="2021-10-19T12:47:05.678" v="180" actId="1038"/>
          <ac:cxnSpMkLst>
            <pc:docMk/>
            <pc:sldMk cId="1199121354" sldId="417"/>
            <ac:cxnSpMk id="74" creationId="{D7E58C1A-BD59-45B7-88A0-BCE35B2770F9}"/>
          </ac:cxnSpMkLst>
        </pc:cxnChg>
        <pc:cxnChg chg="add mod">
          <ac:chgData name="Meyer Raphael (PAR-ES)" userId="79615dfe-ed48-4e74-a40f-4f7b034c1c27" providerId="ADAL" clId="{5BDC4DE6-AEE0-4FC4-A6D7-CBAF56E9819B}" dt="2021-10-19T13:14:03.011" v="300" actId="14100"/>
          <ac:cxnSpMkLst>
            <pc:docMk/>
            <pc:sldMk cId="1199121354" sldId="417"/>
            <ac:cxnSpMk id="75" creationId="{C61E375B-2BF6-4CFE-A117-F1B033D18530}"/>
          </ac:cxnSpMkLst>
        </pc:cxnChg>
        <pc:cxnChg chg="add mod">
          <ac:chgData name="Meyer Raphael (PAR-ES)" userId="79615dfe-ed48-4e74-a40f-4f7b034c1c27" providerId="ADAL" clId="{5BDC4DE6-AEE0-4FC4-A6D7-CBAF56E9819B}" dt="2021-10-19T13:14:26.251" v="303" actId="14100"/>
          <ac:cxnSpMkLst>
            <pc:docMk/>
            <pc:sldMk cId="1199121354" sldId="417"/>
            <ac:cxnSpMk id="81" creationId="{077B3997-639A-4D61-8279-A4B77BBDF59A}"/>
          </ac:cxnSpMkLst>
        </pc:cxnChg>
        <pc:cxnChg chg="add mod">
          <ac:chgData name="Meyer Raphael (PAR-ES)" userId="79615dfe-ed48-4e74-a40f-4f7b034c1c27" providerId="ADAL" clId="{5BDC4DE6-AEE0-4FC4-A6D7-CBAF56E9819B}" dt="2021-10-19T13:14:12.149" v="301" actId="14100"/>
          <ac:cxnSpMkLst>
            <pc:docMk/>
            <pc:sldMk cId="1199121354" sldId="417"/>
            <ac:cxnSpMk id="82" creationId="{2947710C-C5CE-445D-8763-663FCA730DFC}"/>
          </ac:cxnSpMkLst>
        </pc:cxnChg>
      </pc:sldChg>
      <pc:sldChg chg="add del">
        <pc:chgData name="Meyer Raphael (PAR-ES)" userId="79615dfe-ed48-4e74-a40f-4f7b034c1c27" providerId="ADAL" clId="{5BDC4DE6-AEE0-4FC4-A6D7-CBAF56E9819B}" dt="2021-10-19T13:12:51.513" v="293" actId="47"/>
        <pc:sldMkLst>
          <pc:docMk/>
          <pc:sldMk cId="3566475849" sldId="418"/>
        </pc:sldMkLst>
      </pc:sldChg>
      <pc:sldChg chg="modSp add mod">
        <pc:chgData name="Meyer Raphael (PAR-ES)" userId="79615dfe-ed48-4e74-a40f-4f7b034c1c27" providerId="ADAL" clId="{5BDC4DE6-AEE0-4FC4-A6D7-CBAF56E9819B}" dt="2021-10-19T13:59:32.682" v="336"/>
        <pc:sldMkLst>
          <pc:docMk/>
          <pc:sldMk cId="200941906" sldId="419"/>
        </pc:sldMkLst>
        <pc:spChg chg="mod">
          <ac:chgData name="Meyer Raphael (PAR-ES)" userId="79615dfe-ed48-4e74-a40f-4f7b034c1c27" providerId="ADAL" clId="{5BDC4DE6-AEE0-4FC4-A6D7-CBAF56E9819B}" dt="2021-10-19T13:11:44.551" v="285" actId="20577"/>
          <ac:spMkLst>
            <pc:docMk/>
            <pc:sldMk cId="200941906" sldId="419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1:31.144" v="279"/>
          <ac:spMkLst>
            <pc:docMk/>
            <pc:sldMk cId="200941906" sldId="419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01:06.695" v="278"/>
          <ac:spMkLst>
            <pc:docMk/>
            <pc:sldMk cId="200941906" sldId="419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32.682" v="336"/>
          <ac:graphicFrameMkLst>
            <pc:docMk/>
            <pc:sldMk cId="200941906" sldId="419"/>
            <ac:graphicFrameMk id="68" creationId="{41D4B4B9-45BD-4B09-B57A-D7C615C4CD23}"/>
          </ac:graphicFrameMkLst>
        </pc:graphicFrameChg>
        <pc:cxnChg chg="mod">
          <ac:chgData name="Meyer Raphael (PAR-ES)" userId="79615dfe-ed48-4e74-a40f-4f7b034c1c27" providerId="ADAL" clId="{5BDC4DE6-AEE0-4FC4-A6D7-CBAF56E9819B}" dt="2021-10-19T13:14:47.107" v="305" actId="14100"/>
          <ac:cxnSpMkLst>
            <pc:docMk/>
            <pc:sldMk cId="200941906" sldId="419"/>
            <ac:cxnSpMk id="75" creationId="{C61E375B-2BF6-4CFE-A117-F1B033D18530}"/>
          </ac:cxnSpMkLst>
        </pc:cxnChg>
        <pc:cxnChg chg="mod">
          <ac:chgData name="Meyer Raphael (PAR-ES)" userId="79615dfe-ed48-4e74-a40f-4f7b034c1c27" providerId="ADAL" clId="{5BDC4DE6-AEE0-4FC4-A6D7-CBAF56E9819B}" dt="2021-10-19T13:15:01.238" v="308" actId="14100"/>
          <ac:cxnSpMkLst>
            <pc:docMk/>
            <pc:sldMk cId="200941906" sldId="419"/>
            <ac:cxnSpMk id="81" creationId="{077B3997-639A-4D61-8279-A4B77BBDF59A}"/>
          </ac:cxnSpMkLst>
        </pc:cxnChg>
        <pc:cxnChg chg="mod">
          <ac:chgData name="Meyer Raphael (PAR-ES)" userId="79615dfe-ed48-4e74-a40f-4f7b034c1c27" providerId="ADAL" clId="{5BDC4DE6-AEE0-4FC4-A6D7-CBAF56E9819B}" dt="2021-10-19T13:14:52.304" v="306" actId="14100"/>
          <ac:cxnSpMkLst>
            <pc:docMk/>
            <pc:sldMk cId="200941906" sldId="419"/>
            <ac:cxnSpMk id="82" creationId="{2947710C-C5CE-445D-8763-663FCA730DFC}"/>
          </ac:cxnSpMkLst>
        </pc:cxnChg>
      </pc:sldChg>
      <pc:sldChg chg="modSp add mod">
        <pc:chgData name="Meyer Raphael (PAR-ES)" userId="79615dfe-ed48-4e74-a40f-4f7b034c1c27" providerId="ADAL" clId="{5BDC4DE6-AEE0-4FC4-A6D7-CBAF56E9819B}" dt="2021-10-19T13:59:47.885" v="338"/>
        <pc:sldMkLst>
          <pc:docMk/>
          <pc:sldMk cId="3299254992" sldId="420"/>
        </pc:sldMkLst>
        <pc:spChg chg="mod">
          <ac:chgData name="Meyer Raphael (PAR-ES)" userId="79615dfe-ed48-4e74-a40f-4f7b034c1c27" providerId="ADAL" clId="{5BDC4DE6-AEE0-4FC4-A6D7-CBAF56E9819B}" dt="2021-10-19T13:17:14.099" v="322" actId="20577"/>
          <ac:spMkLst>
            <pc:docMk/>
            <pc:sldMk cId="3299254992" sldId="420"/>
            <ac:spMk id="77" creationId="{173BBFC2-588A-4D4B-A34B-619BBA0689E6}"/>
          </ac:spMkLst>
        </pc:spChg>
        <pc:spChg chg="mod">
          <ac:chgData name="Meyer Raphael (PAR-ES)" userId="79615dfe-ed48-4e74-a40f-4f7b034c1c27" providerId="ADAL" clId="{5BDC4DE6-AEE0-4FC4-A6D7-CBAF56E9819B}" dt="2021-10-19T13:17:07.295" v="316"/>
          <ac:spMkLst>
            <pc:docMk/>
            <pc:sldMk cId="3299254992" sldId="420"/>
            <ac:spMk id="80" creationId="{0B09E808-A6DF-45C1-94FD-29227B7F4709}"/>
          </ac:spMkLst>
        </pc:spChg>
        <pc:spChg chg="mod">
          <ac:chgData name="Meyer Raphael (PAR-ES)" userId="79615dfe-ed48-4e74-a40f-4f7b034c1c27" providerId="ADAL" clId="{5BDC4DE6-AEE0-4FC4-A6D7-CBAF56E9819B}" dt="2021-10-19T13:16:37.137" v="315"/>
          <ac:spMkLst>
            <pc:docMk/>
            <pc:sldMk cId="3299254992" sldId="420"/>
            <ac:spMk id="83" creationId="{B8DCE921-BC0E-49AB-ADDE-F6CE5BB90E92}"/>
          </ac:spMkLst>
        </pc:spChg>
        <pc:graphicFrameChg chg="mod">
          <ac:chgData name="Meyer Raphael (PAR-ES)" userId="79615dfe-ed48-4e74-a40f-4f7b034c1c27" providerId="ADAL" clId="{5BDC4DE6-AEE0-4FC4-A6D7-CBAF56E9819B}" dt="2021-10-19T13:59:47.885" v="338"/>
          <ac:graphicFrameMkLst>
            <pc:docMk/>
            <pc:sldMk cId="3299254992" sldId="420"/>
            <ac:graphicFrameMk id="68" creationId="{41D4B4B9-45BD-4B09-B57A-D7C615C4CD23}"/>
          </ac:graphicFrameMkLst>
        </pc:graphicFrameChg>
      </pc:sldChg>
      <pc:sldMasterChg chg="delSp mod">
        <pc:chgData name="Meyer Raphael (PAR-ES)" userId="79615dfe-ed48-4e74-a40f-4f7b034c1c27" providerId="ADAL" clId="{5BDC4DE6-AEE0-4FC4-A6D7-CBAF56E9819B}" dt="2021-10-19T13:12:15.772" v="287"/>
        <pc:sldMasterMkLst>
          <pc:docMk/>
          <pc:sldMasterMk cId="3307758698" sldId="2147483660"/>
        </pc:sldMasterMkLst>
        <pc:spChg chg="del">
          <ac:chgData name="Meyer Raphael (PAR-ES)" userId="79615dfe-ed48-4e74-a40f-4f7b034c1c27" providerId="ADAL" clId="{5BDC4DE6-AEE0-4FC4-A6D7-CBAF56E9819B}" dt="2021-10-19T13:12:15.772" v="287"/>
          <ac:spMkLst>
            <pc:docMk/>
            <pc:sldMasterMk cId="3307758698" sldId="2147483660"/>
            <ac:spMk id="7" creationId="{1E4D2D91-D134-4644-9D78-F6F8D7DE1E45}"/>
          </ac:spMkLst>
        </pc:spChg>
      </pc:sldMasterChg>
      <pc:sldMasterChg chg="delSp mod">
        <pc:chgData name="Meyer Raphael (PAR-ES)" userId="79615dfe-ed48-4e74-a40f-4f7b034c1c27" providerId="ADAL" clId="{5BDC4DE6-AEE0-4FC4-A6D7-CBAF56E9819B}" dt="2021-10-19T13:12:15.772" v="289"/>
        <pc:sldMasterMkLst>
          <pc:docMk/>
          <pc:sldMasterMk cId="3007821643" sldId="2147483676"/>
        </pc:sldMasterMkLst>
        <pc:spChg chg="del">
          <ac:chgData name="Meyer Raphael (PAR-ES)" userId="79615dfe-ed48-4e74-a40f-4f7b034c1c27" providerId="ADAL" clId="{5BDC4DE6-AEE0-4FC4-A6D7-CBAF56E9819B}" dt="2021-10-19T13:12:15.772" v="289"/>
          <ac:spMkLst>
            <pc:docMk/>
            <pc:sldMasterMk cId="3007821643" sldId="2147483676"/>
            <ac:spMk id="7" creationId="{5E12FC31-FC0C-4EA2-A0F0-EC04857B99CD}"/>
          </ac:spMkLst>
        </pc:spChg>
      </pc:sldMasterChg>
      <pc:sldMasterChg chg="addSp delSp modSp mod">
        <pc:chgData name="Meyer Raphael (PAR-ES)" userId="79615dfe-ed48-4e74-a40f-4f7b034c1c27" providerId="ADAL" clId="{5BDC4DE6-AEE0-4FC4-A6D7-CBAF56E9819B}" dt="2021-10-19T13:12:15.772" v="291"/>
        <pc:sldMasterMkLst>
          <pc:docMk/>
          <pc:sldMasterMk cId="247366169" sldId="2147483712"/>
        </pc:sldMasterMkLst>
        <pc:spChg chg="add del mod ord modVis">
          <ac:chgData name="Meyer Raphael (PAR-ES)" userId="79615dfe-ed48-4e74-a40f-4f7b034c1c27" providerId="ADAL" clId="{5BDC4DE6-AEE0-4FC4-A6D7-CBAF56E9819B}" dt="2021-10-19T13:12:15.772" v="291"/>
          <ac:spMkLst>
            <pc:docMk/>
            <pc:sldMasterMk cId="247366169" sldId="2147483712"/>
            <ac:spMk id="7" creationId="{E45453EA-9FEE-45AC-A4F8-82EE7E38401B}"/>
          </ac:spMkLst>
        </pc:spChg>
      </pc:sldMasterChg>
    </pc:docChg>
  </pc:docChgLst>
  <pc:docChgLst>
    <pc:chgData name="Meyer Raphael (PAR-ES)" userId="79615dfe-ed48-4e74-a40f-4f7b034c1c27" providerId="ADAL" clId="{ADB5BE36-76E7-4528-A0DC-EC31C0774D59}"/>
    <pc:docChg chg="custSel modSld">
      <pc:chgData name="Meyer Raphael (PAR-ES)" userId="79615dfe-ed48-4e74-a40f-4f7b034c1c27" providerId="ADAL" clId="{ADB5BE36-76E7-4528-A0DC-EC31C0774D59}" dt="2022-02-22T13:41:57.468" v="49" actId="27918"/>
      <pc:docMkLst>
        <pc:docMk/>
      </pc:docMkLst>
      <pc:sldChg chg="modSp mod">
        <pc:chgData name="Meyer Raphael (PAR-ES)" userId="79615dfe-ed48-4e74-a40f-4f7b034c1c27" providerId="ADAL" clId="{ADB5BE36-76E7-4528-A0DC-EC31C0774D59}" dt="2022-02-22T13:40:11.159" v="25" actId="20577"/>
        <pc:sldMkLst>
          <pc:docMk/>
          <pc:sldMk cId="3294247987" sldId="409"/>
        </pc:sldMkLst>
        <pc:spChg chg="mod">
          <ac:chgData name="Meyer Raphael (PAR-ES)" userId="79615dfe-ed48-4e74-a40f-4f7b034c1c27" providerId="ADAL" clId="{ADB5BE36-76E7-4528-A0DC-EC31C0774D59}" dt="2022-02-22T13:37:39.093" v="2" actId="20577"/>
          <ac:spMkLst>
            <pc:docMk/>
            <pc:sldMk cId="3294247987" sldId="409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37:56.979" v="3"/>
          <ac:spMkLst>
            <pc:docMk/>
            <pc:sldMk cId="3294247987" sldId="409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38:21.019" v="16" actId="20577"/>
          <ac:spMkLst>
            <pc:docMk/>
            <pc:sldMk cId="3294247987" sldId="409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0:11.159" v="25" actId="20577"/>
          <ac:spMkLst>
            <pc:docMk/>
            <pc:sldMk cId="3294247987" sldId="409"/>
            <ac:spMk id="10" creationId="{688053B1-3C6B-44C3-87A2-469CA7CF834F}"/>
          </ac:spMkLst>
        </pc:spChg>
      </pc:sldChg>
      <pc:sldChg chg="modSp mod">
        <pc:chgData name="Meyer Raphael (PAR-ES)" userId="79615dfe-ed48-4e74-a40f-4f7b034c1c27" providerId="ADAL" clId="{ADB5BE36-76E7-4528-A0DC-EC31C0774D59}" dt="2022-02-22T13:41:57.468" v="49" actId="27918"/>
        <pc:sldMkLst>
          <pc:docMk/>
          <pc:sldMk cId="2032574650" sldId="410"/>
        </pc:sldMkLst>
        <pc:spChg chg="mod">
          <ac:chgData name="Meyer Raphael (PAR-ES)" userId="79615dfe-ed48-4e74-a40f-4f7b034c1c27" providerId="ADAL" clId="{ADB5BE36-76E7-4528-A0DC-EC31C0774D59}" dt="2022-02-22T13:41:06.044" v="29" actId="20577"/>
          <ac:spMkLst>
            <pc:docMk/>
            <pc:sldMk cId="2032574650" sldId="410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ADB5BE36-76E7-4528-A0DC-EC31C0774D59}" dt="2022-02-22T13:40:51.373" v="27"/>
          <ac:spMkLst>
            <pc:docMk/>
            <pc:sldMk cId="2032574650" sldId="410"/>
            <ac:spMk id="7" creationId="{5353CABD-91F1-4DCF-A637-4F62527C40F1}"/>
          </ac:spMkLst>
        </pc:spChg>
        <pc:spChg chg="mod">
          <ac:chgData name="Meyer Raphael (PAR-ES)" userId="79615dfe-ed48-4e74-a40f-4f7b034c1c27" providerId="ADAL" clId="{ADB5BE36-76E7-4528-A0DC-EC31C0774D59}" dt="2022-02-22T13:41:22.800" v="40" actId="20577"/>
          <ac:spMkLst>
            <pc:docMk/>
            <pc:sldMk cId="2032574650" sldId="410"/>
            <ac:spMk id="8" creationId="{06532336-43AE-43F1-8B99-299E3E2FB919}"/>
          </ac:spMkLst>
        </pc:spChg>
        <pc:spChg chg="mod">
          <ac:chgData name="Meyer Raphael (PAR-ES)" userId="79615dfe-ed48-4e74-a40f-4f7b034c1c27" providerId="ADAL" clId="{ADB5BE36-76E7-4528-A0DC-EC31C0774D59}" dt="2022-02-22T13:41:29.392" v="46" actId="20577"/>
          <ac:spMkLst>
            <pc:docMk/>
            <pc:sldMk cId="2032574650" sldId="410"/>
            <ac:spMk id="10" creationId="{688053B1-3C6B-44C3-87A2-469CA7CF834F}"/>
          </ac:spMkLst>
        </pc:spChg>
      </pc:sldChg>
    </pc:docChg>
  </pc:docChgLst>
  <pc:docChgLst>
    <pc:chgData name="Meyer Raphael (PAR-ES)" userId="79615dfe-ed48-4e74-a40f-4f7b034c1c27" providerId="ADAL" clId="{9E6DBD48-31D1-4C20-A692-B18B66411399}"/>
    <pc:docChg chg="modSld">
      <pc:chgData name="Meyer Raphael (PAR-ES)" userId="79615dfe-ed48-4e74-a40f-4f7b034c1c27" providerId="ADAL" clId="{9E6DBD48-31D1-4C20-A692-B18B66411399}" dt="2021-06-24T11:39:14.460" v="85" actId="1076"/>
      <pc:docMkLst>
        <pc:docMk/>
      </pc:docMkLst>
      <pc:sldChg chg="modSp mod">
        <pc:chgData name="Meyer Raphael (PAR-ES)" userId="79615dfe-ed48-4e74-a40f-4f7b034c1c27" providerId="ADAL" clId="{9E6DBD48-31D1-4C20-A692-B18B66411399}" dt="2021-06-24T11:39:02.493" v="83" actId="1076"/>
        <pc:sldMkLst>
          <pc:docMk/>
          <pc:sldMk cId="1495152177" sldId="298"/>
        </pc:sldMkLst>
        <pc:spChg chg="mod">
          <ac:chgData name="Meyer Raphael (PAR-ES)" userId="79615dfe-ed48-4e74-a40f-4f7b034c1c27" providerId="ADAL" clId="{9E6DBD48-31D1-4C20-A692-B18B66411399}" dt="2021-06-24T11:39:02.493" v="83" actId="107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40.037" v="82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9E6DBD48-31D1-4C20-A692-B18B66411399}" dt="2021-06-24T11:32:49.105" v="2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40.037" v="82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07.740" v="84" actId="1076"/>
        <pc:sldMkLst>
          <pc:docMk/>
          <pc:sldMk cId="3590012689" sldId="365"/>
        </pc:sldMkLst>
        <pc:spChg chg="mod">
          <ac:chgData name="Meyer Raphael (PAR-ES)" userId="79615dfe-ed48-4e74-a40f-4f7b034c1c27" providerId="ADAL" clId="{9E6DBD48-31D1-4C20-A692-B18B66411399}" dt="2021-06-24T11:39:07.740" v="84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26.069" v="64" actId="1037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42.927" v="19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26.069" v="64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9E6DBD48-31D1-4C20-A692-B18B66411399}" dt="2021-06-24T11:39:14.460" v="85" actId="1076"/>
        <pc:sldMkLst>
          <pc:docMk/>
          <pc:sldMk cId="689864941" sldId="366"/>
        </pc:sldMkLst>
        <pc:spChg chg="mod">
          <ac:chgData name="Meyer Raphael (PAR-ES)" userId="79615dfe-ed48-4e74-a40f-4f7b034c1c27" providerId="ADAL" clId="{9E6DBD48-31D1-4C20-A692-B18B66411399}" dt="2021-06-24T11:39:14.460" v="85" actId="1076"/>
          <ac:spMkLst>
            <pc:docMk/>
            <pc:sldMk cId="689864941" sldId="366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9E6DBD48-31D1-4C20-A692-B18B66411399}" dt="2021-06-24T11:37:11.260" v="48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9E6DBD48-31D1-4C20-A692-B18B66411399}" dt="2021-06-24T11:32:36.817" v="17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9E6DBD48-31D1-4C20-A692-B18B66411399}" dt="2021-06-24T11:37:11.260" v="48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EE5A7C0-C573-4ECA-9195-43EA16DC6E49}"/>
    <pc:docChg chg="custSel addSld modSld">
      <pc:chgData name="Meyer Raphael (PAR-ES)" userId="79615dfe-ed48-4e74-a40f-4f7b034c1c27" providerId="ADAL" clId="{5EE5A7C0-C573-4ECA-9195-43EA16DC6E49}" dt="2021-05-26T08:44:41.610" v="755" actId="1038"/>
      <pc:docMkLst>
        <pc:docMk/>
      </pc:docMkLst>
      <pc:sldChg chg="mod">
        <pc:chgData name="Meyer Raphael (PAR-ES)" userId="79615dfe-ed48-4e74-a40f-4f7b034c1c27" providerId="ADAL" clId="{5EE5A7C0-C573-4ECA-9195-43EA16DC6E49}" dt="2021-05-26T08:39:13.561" v="105" actId="27918"/>
        <pc:sldMkLst>
          <pc:docMk/>
          <pc:sldMk cId="1495152177" sldId="298"/>
        </pc:sldMkLst>
      </pc:sldChg>
      <pc:sldChg chg="addSp delSp modSp new mod">
        <pc:chgData name="Meyer Raphael (PAR-ES)" userId="79615dfe-ed48-4e74-a40f-4f7b034c1c27" providerId="ADAL" clId="{5EE5A7C0-C573-4ECA-9195-43EA16DC6E49}" dt="2021-05-26T08:44:41.610" v="755" actId="1038"/>
        <pc:sldMkLst>
          <pc:docMk/>
          <pc:sldMk cId="3137099422" sldId="358"/>
        </pc:sldMkLst>
        <pc:spChg chg="mod">
          <ac:chgData name="Meyer Raphael (PAR-ES)" userId="79615dfe-ed48-4e74-a40f-4f7b034c1c27" providerId="ADAL" clId="{5EE5A7C0-C573-4ECA-9195-43EA16DC6E49}" dt="2021-05-26T08:37:52.665" v="103" actId="20577"/>
          <ac:spMkLst>
            <pc:docMk/>
            <pc:sldMk cId="3137099422" sldId="358"/>
            <ac:spMk id="2" creationId="{72711E6E-1416-465E-9A46-D62B6B2FD2A4}"/>
          </ac:spMkLst>
        </pc:spChg>
        <pc:spChg chg="del">
          <ac:chgData name="Meyer Raphael (PAR-ES)" userId="79615dfe-ed48-4e74-a40f-4f7b034c1c27" providerId="ADAL" clId="{5EE5A7C0-C573-4ECA-9195-43EA16DC6E49}" dt="2021-05-26T08:36:42.973" v="1" actId="478"/>
          <ac:spMkLst>
            <pc:docMk/>
            <pc:sldMk cId="3137099422" sldId="358"/>
            <ac:spMk id="4" creationId="{1CF7CC40-4689-4113-A1DE-5C9D701740EA}"/>
          </ac:spMkLst>
        </pc:spChg>
        <pc:spChg chg="add del mod">
          <ac:chgData name="Meyer Raphael (PAR-ES)" userId="79615dfe-ed48-4e74-a40f-4f7b034c1c27" providerId="ADAL" clId="{5EE5A7C0-C573-4ECA-9195-43EA16DC6E49}" dt="2021-05-26T08:41:44.447" v="515" actId="478"/>
          <ac:spMkLst>
            <pc:docMk/>
            <pc:sldMk cId="3137099422" sldId="358"/>
            <ac:spMk id="8" creationId="{58A1CE47-EA5C-4370-8726-76A3370213A0}"/>
          </ac:spMkLst>
        </pc:spChg>
        <pc:spChg chg="add mod">
          <ac:chgData name="Meyer Raphael (PAR-ES)" userId="79615dfe-ed48-4e74-a40f-4f7b034c1c27" providerId="ADAL" clId="{5EE5A7C0-C573-4ECA-9195-43EA16DC6E49}" dt="2021-05-26T08:44:41.610" v="755" actId="1038"/>
          <ac:spMkLst>
            <pc:docMk/>
            <pc:sldMk cId="3137099422" sldId="358"/>
            <ac:spMk id="9" creationId="{42AA12ED-4579-4FE5-A07A-BC01B76928FB}"/>
          </ac:spMkLst>
        </pc:spChg>
        <pc:spChg chg="add mod">
          <ac:chgData name="Meyer Raphael (PAR-ES)" userId="79615dfe-ed48-4e74-a40f-4f7b034c1c27" providerId="ADAL" clId="{5EE5A7C0-C573-4ECA-9195-43EA16DC6E49}" dt="2021-05-26T08:41:40.081" v="514" actId="1037"/>
          <ac:spMkLst>
            <pc:docMk/>
            <pc:sldMk cId="3137099422" sldId="358"/>
            <ac:spMk id="12" creationId="{4DA2B71E-2CC2-4C38-BAAB-A71345A07B83}"/>
          </ac:spMkLst>
        </pc:spChg>
        <pc:spChg chg="add mod">
          <ac:chgData name="Meyer Raphael (PAR-ES)" userId="79615dfe-ed48-4e74-a40f-4f7b034c1c27" providerId="ADAL" clId="{5EE5A7C0-C573-4ECA-9195-43EA16DC6E49}" dt="2021-05-26T08:41:13.405" v="409" actId="20577"/>
          <ac:spMkLst>
            <pc:docMk/>
            <pc:sldMk cId="3137099422" sldId="358"/>
            <ac:spMk id="13" creationId="{B946C02A-50DE-42C7-A209-D603829BA4B1}"/>
          </ac:spMkLst>
        </pc:spChg>
        <pc:graphicFrameChg chg="add mod">
          <ac:chgData name="Meyer Raphael (PAR-ES)" userId="79615dfe-ed48-4e74-a40f-4f7b034c1c27" providerId="ADAL" clId="{5EE5A7C0-C573-4ECA-9195-43EA16DC6E49}" dt="2021-05-26T08:37:08.839" v="16"/>
          <ac:graphicFrameMkLst>
            <pc:docMk/>
            <pc:sldMk cId="3137099422" sldId="358"/>
            <ac:graphicFrameMk id="5" creationId="{41AC7E07-D231-4F46-96CB-39403670D77F}"/>
          </ac:graphicFrameMkLst>
        </pc:graphicFrameChg>
        <pc:graphicFrameChg chg="add mod">
          <ac:chgData name="Meyer Raphael (PAR-ES)" userId="79615dfe-ed48-4e74-a40f-4f7b034c1c27" providerId="ADAL" clId="{5EE5A7C0-C573-4ECA-9195-43EA16DC6E49}" dt="2021-05-26T08:42:55.557" v="521"/>
          <ac:graphicFrameMkLst>
            <pc:docMk/>
            <pc:sldMk cId="3137099422" sldId="358"/>
            <ac:graphicFrameMk id="14" creationId="{41AC7E07-D231-4F46-96CB-39403670D77F}"/>
          </ac:graphicFrameMkLst>
        </pc:graphicFrameChg>
        <pc:picChg chg="add del mod">
          <ac:chgData name="Meyer Raphael (PAR-ES)" userId="79615dfe-ed48-4e74-a40f-4f7b034c1c27" providerId="ADAL" clId="{5EE5A7C0-C573-4ECA-9195-43EA16DC6E49}" dt="2021-05-26T08:42:47.763" v="516" actId="478"/>
          <ac:picMkLst>
            <pc:docMk/>
            <pc:sldMk cId="3137099422" sldId="358"/>
            <ac:picMk id="6" creationId="{4C1C2F28-32E3-43E7-8010-354E8EDFC1EA}"/>
          </ac:picMkLst>
        </pc:picChg>
        <pc:picChg chg="add mod ord">
          <ac:chgData name="Meyer Raphael (PAR-ES)" userId="79615dfe-ed48-4e74-a40f-4f7b034c1c27" providerId="ADAL" clId="{5EE5A7C0-C573-4ECA-9195-43EA16DC6E49}" dt="2021-05-26T08:44:30.116" v="748" actId="1037"/>
          <ac:picMkLst>
            <pc:docMk/>
            <pc:sldMk cId="3137099422" sldId="358"/>
            <ac:picMk id="15" creationId="{55BD0271-4DD3-43E3-A3B9-E8F00535D21A}"/>
          </ac:picMkLst>
        </pc:picChg>
        <pc:cxnChg chg="add mod">
          <ac:chgData name="Meyer Raphael (PAR-ES)" userId="79615dfe-ed48-4e74-a40f-4f7b034c1c27" providerId="ADAL" clId="{5EE5A7C0-C573-4ECA-9195-43EA16DC6E49}" dt="2021-05-26T08:44:41.610" v="755" actId="1038"/>
          <ac:cxnSpMkLst>
            <pc:docMk/>
            <pc:sldMk cId="3137099422" sldId="358"/>
            <ac:cxnSpMk id="7" creationId="{D77902D2-9169-4095-AF09-B1A9DB2A7B74}"/>
          </ac:cxnSpMkLst>
        </pc:cxnChg>
        <pc:cxnChg chg="add mod">
          <ac:chgData name="Meyer Raphael (PAR-ES)" userId="79615dfe-ed48-4e74-a40f-4f7b034c1c27" providerId="ADAL" clId="{5EE5A7C0-C573-4ECA-9195-43EA16DC6E49}" dt="2021-05-26T08:41:08.261" v="407" actId="1035"/>
          <ac:cxnSpMkLst>
            <pc:docMk/>
            <pc:sldMk cId="3137099422" sldId="358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604C7573-E99D-4734-9F02-8AA094A0E7FB}"/>
    <pc:docChg chg="undo custSel addSld modSld sldOrd">
      <pc:chgData name="Meyer Raphael (PAR-ES)" userId="79615dfe-ed48-4e74-a40f-4f7b034c1c27" providerId="ADAL" clId="{604C7573-E99D-4734-9F02-8AA094A0E7FB}" dt="2021-09-15T13:50:11.898" v="247" actId="1037"/>
      <pc:docMkLst>
        <pc:docMk/>
      </pc:docMkLst>
      <pc:sldChg chg="ord">
        <pc:chgData name="Meyer Raphael (PAR-ES)" userId="79615dfe-ed48-4e74-a40f-4f7b034c1c27" providerId="ADAL" clId="{604C7573-E99D-4734-9F02-8AA094A0E7FB}" dt="2021-09-15T12:33:07.419" v="1"/>
        <pc:sldMkLst>
          <pc:docMk/>
          <pc:sldMk cId="277025245" sldId="325"/>
        </pc:sldMkLst>
      </pc:sldChg>
      <pc:sldChg chg="addSp delSp modSp mod">
        <pc:chgData name="Meyer Raphael (PAR-ES)" userId="79615dfe-ed48-4e74-a40f-4f7b034c1c27" providerId="ADAL" clId="{604C7573-E99D-4734-9F02-8AA094A0E7FB}" dt="2021-09-15T12:58:20.808" v="184" actId="21"/>
        <pc:sldMkLst>
          <pc:docMk/>
          <pc:sldMk cId="689864941" sldId="366"/>
        </pc:sldMkLst>
        <pc:cxnChg chg="add del mod">
          <ac:chgData name="Meyer Raphael (PAR-ES)" userId="79615dfe-ed48-4e74-a40f-4f7b034c1c27" providerId="ADAL" clId="{604C7573-E99D-4734-9F02-8AA094A0E7FB}" dt="2021-09-15T12:56:42.440" v="176" actId="21"/>
          <ac:cxnSpMkLst>
            <pc:docMk/>
            <pc:sldMk cId="689864941" sldId="366"/>
            <ac:cxnSpMk id="11" creationId="{4176DA4F-7562-404E-8889-9AB0869064CC}"/>
          </ac:cxnSpMkLst>
        </pc:cxnChg>
        <pc:cxnChg chg="add del mod">
          <ac:chgData name="Meyer Raphael (PAR-ES)" userId="79615dfe-ed48-4e74-a40f-4f7b034c1c27" providerId="ADAL" clId="{604C7573-E99D-4734-9F02-8AA094A0E7FB}" dt="2021-09-15T12:58:20.808" v="184" actId="21"/>
          <ac:cxnSpMkLst>
            <pc:docMk/>
            <pc:sldMk cId="689864941" sldId="366"/>
            <ac:cxnSpMk id="14" creationId="{0F62341E-47D1-4FC0-8B25-F01CAE3A0A5A}"/>
          </ac:cxnSpMkLst>
        </pc:cxnChg>
      </pc:sldChg>
      <pc:sldChg chg="addSp delSp modSp add mod ord">
        <pc:chgData name="Meyer Raphael (PAR-ES)" userId="79615dfe-ed48-4e74-a40f-4f7b034c1c27" providerId="ADAL" clId="{604C7573-E99D-4734-9F02-8AA094A0E7FB}" dt="2021-09-15T13:50:11.898" v="247" actId="1037"/>
        <pc:sldMkLst>
          <pc:docMk/>
          <pc:sldMk cId="2029197701" sldId="367"/>
        </pc:sldMkLst>
        <pc:spChg chg="mod">
          <ac:chgData name="Meyer Raphael (PAR-ES)" userId="79615dfe-ed48-4e74-a40f-4f7b034c1c27" providerId="ADAL" clId="{604C7573-E99D-4734-9F02-8AA094A0E7FB}" dt="2021-09-15T12:52:12.602" v="31" actId="6549"/>
          <ac:spMkLst>
            <pc:docMk/>
            <pc:sldMk cId="2029197701" sldId="367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604C7573-E99D-4734-9F02-8AA094A0E7FB}" dt="2021-09-15T12:59:18.558" v="190" actId="1076"/>
          <ac:spMkLst>
            <pc:docMk/>
            <pc:sldMk cId="2029197701" sldId="367"/>
            <ac:spMk id="6" creationId="{0EEE4EA3-E16E-424B-97F9-53A8F5D585AE}"/>
          </ac:spMkLst>
        </pc:spChg>
        <pc:spChg chg="del mod">
          <ac:chgData name="Meyer Raphael (PAR-ES)" userId="79615dfe-ed48-4e74-a40f-4f7b034c1c27" providerId="ADAL" clId="{604C7573-E99D-4734-9F02-8AA094A0E7FB}" dt="2021-09-15T12:53:10.332" v="36" actId="478"/>
          <ac:spMkLst>
            <pc:docMk/>
            <pc:sldMk cId="2029197701" sldId="367"/>
            <ac:spMk id="7" creationId="{51421822-C303-4FC2-BF5E-F4377E568635}"/>
          </ac:spMkLst>
        </pc:spChg>
        <pc:spChg chg="add del mod">
          <ac:chgData name="Meyer Raphael (PAR-ES)" userId="79615dfe-ed48-4e74-a40f-4f7b034c1c27" providerId="ADAL" clId="{604C7573-E99D-4734-9F02-8AA094A0E7FB}" dt="2021-09-15T12:58:51.024" v="187" actId="478"/>
          <ac:spMkLst>
            <pc:docMk/>
            <pc:sldMk cId="2029197701" sldId="367"/>
            <ac:spMk id="9" creationId="{D998D4EE-347D-491E-A955-8C3A7DCD2FB7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2" creationId="{CCAD2928-2677-455E-9AD8-E0C7482EEB5F}"/>
          </ac:spMkLst>
        </pc:spChg>
        <pc:spChg chg="add mod">
          <ac:chgData name="Meyer Raphael (PAR-ES)" userId="79615dfe-ed48-4e74-a40f-4f7b034c1c27" providerId="ADAL" clId="{604C7573-E99D-4734-9F02-8AA094A0E7FB}" dt="2021-09-15T13:50:11.898" v="247" actId="1037"/>
          <ac:spMkLst>
            <pc:docMk/>
            <pc:sldMk cId="2029197701" sldId="367"/>
            <ac:spMk id="13" creationId="{FC7E6A41-4BB4-434A-A8BA-48990602A5EE}"/>
          </ac:spMkLst>
        </pc:spChg>
        <pc:spChg chg="del">
          <ac:chgData name="Meyer Raphael (PAR-ES)" userId="79615dfe-ed48-4e74-a40f-4f7b034c1c27" providerId="ADAL" clId="{604C7573-E99D-4734-9F02-8AA094A0E7FB}" dt="2021-09-15T12:45:08.761" v="8" actId="478"/>
          <ac:spMkLst>
            <pc:docMk/>
            <pc:sldMk cId="2029197701" sldId="367"/>
            <ac:spMk id="15" creationId="{CC1F0CCA-7B55-41F9-A1FF-769ED7C753BD}"/>
          </ac:spMkLst>
        </pc:spChg>
        <pc:spChg chg="add mod">
          <ac:chgData name="Meyer Raphael (PAR-ES)" userId="79615dfe-ed48-4e74-a40f-4f7b034c1c27" providerId="ADAL" clId="{604C7573-E99D-4734-9F02-8AA094A0E7FB}" dt="2021-09-15T12:59:01.215" v="188"/>
          <ac:spMkLst>
            <pc:docMk/>
            <pc:sldMk cId="2029197701" sldId="367"/>
            <ac:spMk id="17" creationId="{3E356E17-F4BA-401D-BB33-6300C254C959}"/>
          </ac:spMkLst>
        </pc:spChg>
        <pc:graphicFrameChg chg="mod">
          <ac:chgData name="Meyer Raphael (PAR-ES)" userId="79615dfe-ed48-4e74-a40f-4f7b034c1c27" providerId="ADAL" clId="{604C7573-E99D-4734-9F02-8AA094A0E7FB}" dt="2021-09-15T13:48:26.480" v="241" actId="1076"/>
          <ac:graphicFrameMkLst>
            <pc:docMk/>
            <pc:sldMk cId="2029197701" sldId="367"/>
            <ac:graphicFrameMk id="5" creationId="{4CF6AB8B-CAB9-4C7E-8E59-E00357A4D7F0}"/>
          </ac:graphicFrameMkLst>
        </pc:graphicFrameChg>
        <pc:cxnChg chg="add mod">
          <ac:chgData name="Meyer Raphael (PAR-ES)" userId="79615dfe-ed48-4e74-a40f-4f7b034c1c27" providerId="ADAL" clId="{604C7573-E99D-4734-9F02-8AA094A0E7FB}" dt="2021-09-15T13:50:11.898" v="247" actId="1037"/>
          <ac:cxnSpMkLst>
            <pc:docMk/>
            <pc:sldMk cId="2029197701" sldId="367"/>
            <ac:cxnSpMk id="11" creationId="{61A01D27-79D8-4D0E-AC84-EDE76E7AF0DF}"/>
          </ac:cxnSpMkLst>
        </pc:cxnChg>
        <pc:cxnChg chg="add del mod">
          <ac:chgData name="Meyer Raphael (PAR-ES)" userId="79615dfe-ed48-4e74-a40f-4f7b034c1c27" providerId="ADAL" clId="{604C7573-E99D-4734-9F02-8AA094A0E7FB}" dt="2021-09-15T12:57:59.416" v="179" actId="21"/>
          <ac:cxnSpMkLst>
            <pc:docMk/>
            <pc:sldMk cId="2029197701" sldId="367"/>
            <ac:cxnSpMk id="14" creationId="{18A46E03-042B-4930-AF10-65BD514A3D22}"/>
          </ac:cxnSpMkLst>
        </pc:cxnChg>
        <pc:cxnChg chg="add del mod">
          <ac:chgData name="Meyer Raphael (PAR-ES)" userId="79615dfe-ed48-4e74-a40f-4f7b034c1c27" providerId="ADAL" clId="{604C7573-E99D-4734-9F02-8AA094A0E7FB}" dt="2021-09-15T12:58:26.768" v="186" actId="478"/>
          <ac:cxnSpMkLst>
            <pc:docMk/>
            <pc:sldMk cId="2029197701" sldId="367"/>
            <ac:cxnSpMk id="16" creationId="{A84CD970-FF7E-44EA-8127-506E0BA9215A}"/>
          </ac:cxnSpMkLst>
        </pc:cxnChg>
      </pc:sldChg>
    </pc:docChg>
  </pc:docChgLst>
  <pc:docChgLst>
    <pc:chgData name="Meyer Raphael (PAR-ES)" userId="79615dfe-ed48-4e74-a40f-4f7b034c1c27" providerId="ADAL" clId="{7E141BE9-9136-4D1B-8CD0-038A1A8600C9}"/>
    <pc:docChg chg="addSld delSld modSld">
      <pc:chgData name="Meyer Raphael (PAR-ES)" userId="79615dfe-ed48-4e74-a40f-4f7b034c1c27" providerId="ADAL" clId="{7E141BE9-9136-4D1B-8CD0-038A1A8600C9}" dt="2022-02-21T13:13:55.626" v="11" actId="2890"/>
      <pc:docMkLst>
        <pc:docMk/>
      </pc:docMkLst>
      <pc:sldChg chg="modSp del mod">
        <pc:chgData name="Meyer Raphael (PAR-ES)" userId="79615dfe-ed48-4e74-a40f-4f7b034c1c27" providerId="ADAL" clId="{7E141BE9-9136-4D1B-8CD0-038A1A8600C9}" dt="2022-02-21T13:13:12.852" v="2" actId="47"/>
        <pc:sldMkLst>
          <pc:docMk/>
          <pc:sldMk cId="3808035539" sldId="270"/>
        </pc:sldMkLst>
        <pc:graphicFrameChg chg="mod">
          <ac:chgData name="Meyer Raphael (PAR-ES)" userId="79615dfe-ed48-4e74-a40f-4f7b034c1c27" providerId="ADAL" clId="{7E141BE9-9136-4D1B-8CD0-038A1A8600C9}" dt="2022-02-21T12:49:02.619" v="1" actId="1076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7E141BE9-9136-4D1B-8CD0-038A1A8600C9}" dt="2022-02-21T13:13:43.702" v="7" actId="20577"/>
        <pc:sldMkLst>
          <pc:docMk/>
          <pc:sldMk cId="2624746743" sldId="403"/>
        </pc:sldMkLst>
        <pc:spChg chg="mod">
          <ac:chgData name="Meyer Raphael (PAR-ES)" userId="79615dfe-ed48-4e74-a40f-4f7b034c1c27" providerId="ADAL" clId="{7E141BE9-9136-4D1B-8CD0-038A1A8600C9}" dt="2022-02-21T13:13:43.702" v="7" actId="20577"/>
          <ac:spMkLst>
            <pc:docMk/>
            <pc:sldMk cId="2624746743" sldId="403"/>
            <ac:spMk id="2" creationId="{00000000-0000-0000-0000-000000000000}"/>
          </ac:spMkLst>
        </pc:spChg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1954296201" sldId="404"/>
        </pc:sldMkLst>
      </pc:sldChg>
      <pc:sldChg chg="del">
        <pc:chgData name="Meyer Raphael (PAR-ES)" userId="79615dfe-ed48-4e74-a40f-4f7b034c1c27" providerId="ADAL" clId="{7E141BE9-9136-4D1B-8CD0-038A1A8600C9}" dt="2022-02-21T12:48:48.760" v="0" actId="47"/>
        <pc:sldMkLst>
          <pc:docMk/>
          <pc:sldMk cId="2102945685" sldId="404"/>
        </pc:sldMkLst>
      </pc:sldChg>
      <pc:sldChg chg="add">
        <pc:chgData name="Meyer Raphael (PAR-ES)" userId="79615dfe-ed48-4e74-a40f-4f7b034c1c27" providerId="ADAL" clId="{7E141BE9-9136-4D1B-8CD0-038A1A8600C9}" dt="2022-02-21T13:13:53.686" v="9" actId="2890"/>
        <pc:sldMkLst>
          <pc:docMk/>
          <pc:sldMk cId="4185400525" sldId="404"/>
        </pc:sldMkLst>
      </pc:sldChg>
      <pc:sldChg chg="add">
        <pc:chgData name="Meyer Raphael (PAR-ES)" userId="79615dfe-ed48-4e74-a40f-4f7b034c1c27" providerId="ADAL" clId="{7E141BE9-9136-4D1B-8CD0-038A1A8600C9}" dt="2022-02-21T13:13:54.869" v="10" actId="2890"/>
        <pc:sldMkLst>
          <pc:docMk/>
          <pc:sldMk cId="2617506047" sldId="405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4005933681" sldId="405"/>
        </pc:sldMkLst>
      </pc:sldChg>
      <pc:sldChg chg="add">
        <pc:chgData name="Meyer Raphael (PAR-ES)" userId="79615dfe-ed48-4e74-a40f-4f7b034c1c27" providerId="ADAL" clId="{7E141BE9-9136-4D1B-8CD0-038A1A8600C9}" dt="2022-02-21T13:13:55.626" v="11" actId="2890"/>
        <pc:sldMkLst>
          <pc:docMk/>
          <pc:sldMk cId="943556213" sldId="406"/>
        </pc:sldMkLst>
      </pc:sldChg>
      <pc:sldChg chg="add del">
        <pc:chgData name="Meyer Raphael (PAR-ES)" userId="79615dfe-ed48-4e74-a40f-4f7b034c1c27" providerId="ADAL" clId="{7E141BE9-9136-4D1B-8CD0-038A1A8600C9}" dt="2022-02-21T13:13:50.367" v="8" actId="47"/>
        <pc:sldMkLst>
          <pc:docMk/>
          <pc:sldMk cId="3868929230" sldId="406"/>
        </pc:sldMkLst>
      </pc:sldChg>
    </pc:docChg>
  </pc:docChgLst>
  <pc:docChgLst>
    <pc:chgData name="Meyer Raphael (PAR-ES)" userId="79615dfe-ed48-4e74-a40f-4f7b034c1c27" providerId="ADAL" clId="{C5BC34D6-6441-48E7-88C4-E6F3F437ED46}"/>
    <pc:docChg chg="custSel addSld delSld modSld sldOrd">
      <pc:chgData name="Meyer Raphael (PAR-ES)" userId="79615dfe-ed48-4e74-a40f-4f7b034c1c27" providerId="ADAL" clId="{C5BC34D6-6441-48E7-88C4-E6F3F437ED46}" dt="2021-03-11T09:10:51.538" v="87" actId="2696"/>
      <pc:docMkLst>
        <pc:docMk/>
      </pc:docMkLst>
      <pc:sldChg chg="modSp mod">
        <pc:chgData name="Meyer Raphael (PAR-ES)" userId="79615dfe-ed48-4e74-a40f-4f7b034c1c27" providerId="ADAL" clId="{C5BC34D6-6441-48E7-88C4-E6F3F437ED46}" dt="2021-03-11T09:07:31.799" v="66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C5BC34D6-6441-48E7-88C4-E6F3F437ED46}" dt="2021-03-11T09:02:10.785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C5BC34D6-6441-48E7-88C4-E6F3F437ED46}" dt="2021-03-11T09:02:32.327" v="1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C5BC34D6-6441-48E7-88C4-E6F3F437ED46}" dt="2021-03-11T09:07:31.799" v="66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C5BC34D6-6441-48E7-88C4-E6F3F437ED46}" dt="2021-03-11T09:02:51.589" v="25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C5BC34D6-6441-48E7-88C4-E6F3F437ED46}" dt="2021-03-11T09:09:15.794" v="78" actId="2696"/>
        <pc:sldMkLst>
          <pc:docMk/>
          <pc:sldMk cId="1837760195" sldId="334"/>
        </pc:sldMkLst>
      </pc:sldChg>
      <pc:sldChg chg="del">
        <pc:chgData name="Meyer Raphael (PAR-ES)" userId="79615dfe-ed48-4e74-a40f-4f7b034c1c27" providerId="ADAL" clId="{C5BC34D6-6441-48E7-88C4-E6F3F437ED46}" dt="2021-03-11T09:10:51.538" v="87" actId="2696"/>
        <pc:sldMkLst>
          <pc:docMk/>
          <pc:sldMk cId="3853260059" sldId="335"/>
        </pc:sldMkLst>
      </pc:sldChg>
      <pc:sldChg chg="addSp delSp modSp add ord">
        <pc:chgData name="Meyer Raphael (PAR-ES)" userId="79615dfe-ed48-4e74-a40f-4f7b034c1c27" providerId="ADAL" clId="{C5BC34D6-6441-48E7-88C4-E6F3F437ED46}" dt="2021-03-11T09:09:06.381" v="77"/>
        <pc:sldMkLst>
          <pc:docMk/>
          <pc:sldMk cId="3843819818" sldId="336"/>
        </pc:sldMkLst>
        <pc:spChg chg="mod">
          <ac:chgData name="Meyer Raphael (PAR-ES)" userId="79615dfe-ed48-4e74-a40f-4f7b034c1c27" providerId="ADAL" clId="{C5BC34D6-6441-48E7-88C4-E6F3F437ED46}" dt="2021-03-11T09:08:12.975" v="71"/>
          <ac:spMkLst>
            <pc:docMk/>
            <pc:sldMk cId="3843819818" sldId="33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08:55.739" v="76" actId="14100"/>
          <ac:spMkLst>
            <pc:docMk/>
            <pc:sldMk cId="3843819818" sldId="33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8:21.986" v="72"/>
          <ac:spMkLst>
            <pc:docMk/>
            <pc:sldMk cId="3843819818" sldId="33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23" creationId="{AE9E7413-2454-4A46-82BE-74EC408C6252}"/>
          </ac:spMkLst>
        </pc:spChg>
        <pc:spChg chg="del">
          <ac:chgData name="Meyer Raphael (PAR-ES)" userId="79615dfe-ed48-4e74-a40f-4f7b034c1c27" providerId="ADAL" clId="{C5BC34D6-6441-48E7-88C4-E6F3F437ED46}" dt="2021-03-11T09:08:35.578" v="73" actId="478"/>
          <ac:spMkLst>
            <pc:docMk/>
            <pc:sldMk cId="3843819818" sldId="33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09:06.381" v="77"/>
          <ac:spMkLst>
            <pc:docMk/>
            <pc:sldMk cId="3843819818" sldId="33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3" creationId="{07D46FBE-86FE-4EED-A0FD-030334E471DF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6" creationId="{25F83E61-F8D7-4E5D-8AA0-48E74949AE42}"/>
          </ac:spMkLst>
        </pc:spChg>
        <pc:spChg chg="add">
          <ac:chgData name="Meyer Raphael (PAR-ES)" userId="79615dfe-ed48-4e74-a40f-4f7b034c1c27" providerId="ADAL" clId="{C5BC34D6-6441-48E7-88C4-E6F3F437ED46}" dt="2021-03-11T09:08:46.965" v="74"/>
          <ac:spMkLst>
            <pc:docMk/>
            <pc:sldMk cId="3843819818" sldId="336"/>
            <ac:spMk id="37" creationId="{29B05930-D423-4A96-9053-1B4A25A9F673}"/>
          </ac:spMkLst>
        </pc:spChg>
      </pc:sldChg>
      <pc:sldChg chg="addSp delSp modSp add ord">
        <pc:chgData name="Meyer Raphael (PAR-ES)" userId="79615dfe-ed48-4e74-a40f-4f7b034c1c27" providerId="ADAL" clId="{C5BC34D6-6441-48E7-88C4-E6F3F437ED46}" dt="2021-03-11T09:10:42.319" v="86" actId="14100"/>
        <pc:sldMkLst>
          <pc:docMk/>
          <pc:sldMk cId="912098357" sldId="337"/>
        </pc:sldMkLst>
        <pc:spChg chg="mod">
          <ac:chgData name="Meyer Raphael (PAR-ES)" userId="79615dfe-ed48-4e74-a40f-4f7b034c1c27" providerId="ADAL" clId="{C5BC34D6-6441-48E7-88C4-E6F3F437ED46}" dt="2021-03-11T09:09:38.714" v="79"/>
          <ac:spMkLst>
            <pc:docMk/>
            <pc:sldMk cId="912098357" sldId="33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C5BC34D6-6441-48E7-88C4-E6F3F437ED46}" dt="2021-03-11T09:10:24.546" v="84" actId="14100"/>
          <ac:spMkLst>
            <pc:docMk/>
            <pc:sldMk cId="912098357" sldId="33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C5BC34D6-6441-48E7-88C4-E6F3F437ED46}" dt="2021-03-11T09:09:47.961" v="80"/>
          <ac:spMkLst>
            <pc:docMk/>
            <pc:sldMk cId="912098357" sldId="33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17" creationId="{785E740C-F94A-4208-8DFD-63A603C16577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23" creationId="{79146EBC-B10D-4A3C-A2BE-96FA496AA801}"/>
          </ac:spMkLst>
        </pc:spChg>
        <pc:spChg chg="del">
          <ac:chgData name="Meyer Raphael (PAR-ES)" userId="79615dfe-ed48-4e74-a40f-4f7b034c1c27" providerId="ADAL" clId="{C5BC34D6-6441-48E7-88C4-E6F3F437ED46}" dt="2021-03-11T09:09:59.496" v="81" actId="478"/>
          <ac:spMkLst>
            <pc:docMk/>
            <pc:sldMk cId="912098357" sldId="33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C5BC34D6-6441-48E7-88C4-E6F3F437ED46}" dt="2021-03-11T09:10:42.319" v="86" actId="14100"/>
          <ac:spMkLst>
            <pc:docMk/>
            <pc:sldMk cId="912098357" sldId="33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3" creationId="{E1093DAB-58D5-46F0-99AA-CE38E0E3B900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6" creationId="{E6805F1F-F0C1-44B5-8AF1-39CDE1E904A8}"/>
          </ac:spMkLst>
        </pc:spChg>
        <pc:spChg chg="add">
          <ac:chgData name="Meyer Raphael (PAR-ES)" userId="79615dfe-ed48-4e74-a40f-4f7b034c1c27" providerId="ADAL" clId="{C5BC34D6-6441-48E7-88C4-E6F3F437ED46}" dt="2021-03-11T09:10:14.779" v="82"/>
          <ac:spMkLst>
            <pc:docMk/>
            <pc:sldMk cId="912098357" sldId="337"/>
            <ac:spMk id="37" creationId="{E3E13AAB-6483-426A-B343-9337AF7B500D}"/>
          </ac:spMkLst>
        </pc:spChg>
      </pc:sldChg>
    </pc:docChg>
  </pc:docChgLst>
  <pc:docChgLst>
    <pc:chgData name="Meyer Raphael (PAR-ES)" userId="79615dfe-ed48-4e74-a40f-4f7b034c1c27" providerId="ADAL" clId="{F0F5DE81-F72C-4863-AD60-6BF2BDDD5607}"/>
    <pc:docChg chg="addSld modSld">
      <pc:chgData name="Meyer Raphael (PAR-ES)" userId="79615dfe-ed48-4e74-a40f-4f7b034c1c27" providerId="ADAL" clId="{F0F5DE81-F72C-4863-AD60-6BF2BDDD5607}" dt="2021-12-08T08:21:01.813" v="5" actId="27918"/>
      <pc:docMkLst>
        <pc:docMk/>
      </pc:docMkLst>
      <pc:sldChg chg="mod">
        <pc:chgData name="Meyer Raphael (PAR-ES)" userId="79615dfe-ed48-4e74-a40f-4f7b034c1c27" providerId="ADAL" clId="{F0F5DE81-F72C-4863-AD60-6BF2BDDD5607}" dt="2021-12-08T08:21:01.813" v="5" actId="27918"/>
        <pc:sldMkLst>
          <pc:docMk/>
          <pc:sldMk cId="1819982200" sldId="279"/>
        </pc:sldMkLst>
      </pc:sldChg>
      <pc:sldChg chg="add">
        <pc:chgData name="Meyer Raphael (PAR-ES)" userId="79615dfe-ed48-4e74-a40f-4f7b034c1c27" providerId="ADAL" clId="{F0F5DE81-F72C-4863-AD60-6BF2BDDD5607}" dt="2021-12-08T08:18:47.487" v="0" actId="2890"/>
        <pc:sldMkLst>
          <pc:docMk/>
          <pc:sldMk cId="3931044038" sldId="396"/>
        </pc:sldMkLst>
      </pc:sldChg>
    </pc:docChg>
  </pc:docChgLst>
  <pc:docChgLst>
    <pc:chgData name="Meyer Raphael (PAR-ES)" userId="79615dfe-ed48-4e74-a40f-4f7b034c1c27" providerId="ADAL" clId="{A954C289-4C82-4190-A523-AF9FCD6AE807}"/>
    <pc:docChg chg="undo custSel modSld">
      <pc:chgData name="Meyer Raphael (PAR-ES)" userId="79615dfe-ed48-4e74-a40f-4f7b034c1c27" providerId="ADAL" clId="{A954C289-4C82-4190-A523-AF9FCD6AE807}" dt="2021-06-15T09:09:22.928" v="421" actId="1036"/>
      <pc:docMkLst>
        <pc:docMk/>
      </pc:docMkLst>
      <pc:sldChg chg="addSp delSp modSp mod">
        <pc:chgData name="Meyer Raphael (PAR-ES)" userId="79615dfe-ed48-4e74-a40f-4f7b034c1c27" providerId="ADAL" clId="{A954C289-4C82-4190-A523-AF9FCD6AE807}" dt="2021-06-15T09:09:22.928" v="421" actId="1036"/>
        <pc:sldMkLst>
          <pc:docMk/>
          <pc:sldMk cId="1495152177" sldId="298"/>
        </pc:sldMkLst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A954C289-4C82-4190-A523-AF9FCD6AE807}" dt="2021-06-15T08:17:57.107" v="235" actId="2763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A954C289-4C82-4190-A523-AF9FCD6AE807}" dt="2021-06-15T09:09:08.393" v="413" actId="1036"/>
          <ac:spMkLst>
            <pc:docMk/>
            <pc:sldMk cId="1495152177" sldId="298"/>
            <ac:spMk id="13" creationId="{93412675-62AA-41D8-997C-4E877ED953A8}"/>
          </ac:spMkLst>
        </pc:spChg>
        <pc:graphicFrameChg chg="add del">
          <ac:chgData name="Meyer Raphael (PAR-ES)" userId="79615dfe-ed48-4e74-a40f-4f7b034c1c27" providerId="ADAL" clId="{A954C289-4C82-4190-A523-AF9FCD6AE807}" dt="2021-06-15T07:56:03.797" v="1" actId="478"/>
          <ac:graphicFrameMkLst>
            <pc:docMk/>
            <pc:sldMk cId="1495152177" sldId="298"/>
            <ac:graphicFrameMk id="4" creationId="{F3F921C0-1413-4CAF-B645-3BA5801C8853}"/>
          </ac:graphicFrameMkLst>
        </pc:graphicFrameChg>
        <pc:graphicFrameChg chg="mod">
          <ac:chgData name="Meyer Raphael (PAR-ES)" userId="79615dfe-ed48-4e74-a40f-4f7b034c1c27" providerId="ADAL" clId="{A954C289-4C82-4190-A523-AF9FCD6AE807}" dt="2021-06-15T08:18:06.090" v="237" actId="1035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add mod modGraphic">
          <ac:chgData name="Meyer Raphael (PAR-ES)" userId="79615dfe-ed48-4e74-a40f-4f7b034c1c27" providerId="ADAL" clId="{A954C289-4C82-4190-A523-AF9FCD6AE807}" dt="2021-06-15T09:08:11.892" v="349" actId="14100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A954C289-4C82-4190-A523-AF9FCD6AE807}" dt="2021-06-15T09:09:22.928" v="421" actId="1036"/>
          <ac:cxnSpMkLst>
            <pc:docMk/>
            <pc:sldMk cId="1495152177" sldId="298"/>
            <ac:cxnSpMk id="8" creationId="{6F3EB9D3-E612-42D9-859B-1905BD876C26}"/>
          </ac:cxnSpMkLst>
        </pc:cxnChg>
        <pc:cxnChg chg="add del mod ord">
          <ac:chgData name="Meyer Raphael (PAR-ES)" userId="79615dfe-ed48-4e74-a40f-4f7b034c1c27" providerId="ADAL" clId="{A954C289-4C82-4190-A523-AF9FCD6AE807}" dt="2021-06-15T08:17:13.922" v="230" actId="478"/>
          <ac:cxnSpMkLst>
            <pc:docMk/>
            <pc:sldMk cId="1495152177" sldId="298"/>
            <ac:cxnSpMk id="14" creationId="{D23AE8E3-B72E-4135-842E-A3E6577A69D4}"/>
          </ac:cxnSpMkLst>
        </pc:cxnChg>
      </pc:sldChg>
    </pc:docChg>
  </pc:docChgLst>
  <pc:docChgLst>
    <pc:chgData name="Meyer Raphael (KOM-PGA-VSF)" userId="79615dfe-ed48-4e74-a40f-4f7b034c1c27" providerId="ADAL" clId="{96D77013-12DF-4911-886E-DED6CCA30677}"/>
    <pc:docChg chg="undo redo custSel addSld delSld modSld sldOrd modMainMaster">
      <pc:chgData name="Meyer Raphael (KOM-PGA-VSF)" userId="79615dfe-ed48-4e74-a40f-4f7b034c1c27" providerId="ADAL" clId="{96D77013-12DF-4911-886E-DED6CCA30677}" dt="2020-12-16T10:38:55.297" v="4018" actId="2696"/>
      <pc:docMkLst>
        <pc:docMk/>
      </pc:docMkLst>
      <pc:sldChg chg="del">
        <pc:chgData name="Meyer Raphael (KOM-PGA-VSF)" userId="79615dfe-ed48-4e74-a40f-4f7b034c1c27" providerId="ADAL" clId="{96D77013-12DF-4911-886E-DED6CCA30677}" dt="2020-10-30T14:16:22.334" v="226" actId="2696"/>
        <pc:sldMkLst>
          <pc:docMk/>
          <pc:sldMk cId="1624757107" sldId="293"/>
        </pc:sldMkLst>
      </pc:sldChg>
      <pc:sldChg chg="addSp delSp modSp add del">
        <pc:chgData name="Meyer Raphael (KOM-PGA-VSF)" userId="79615dfe-ed48-4e74-a40f-4f7b034c1c27" providerId="ADAL" clId="{96D77013-12DF-4911-886E-DED6CCA30677}" dt="2020-10-30T14:16:25.156" v="227" actId="2696"/>
        <pc:sldMkLst>
          <pc:docMk/>
          <pc:sldMk cId="278967075" sldId="294"/>
        </pc:sldMkLst>
        <pc:spChg chg="add del">
          <ac:chgData name="Meyer Raphael (KOM-PGA-VSF)" userId="79615dfe-ed48-4e74-a40f-4f7b034c1c27" providerId="ADAL" clId="{96D77013-12DF-4911-886E-DED6CCA30677}" dt="2020-09-30T11:38:46.785" v="19"/>
          <ac:spMkLst>
            <pc:docMk/>
            <pc:sldMk cId="278967075" sldId="294"/>
            <ac:spMk id="11" creationId="{8815ABAA-94D8-47C4-B644-FDF9F27DE999}"/>
          </ac:spMkLst>
        </pc:spChg>
        <pc:spChg chg="mod">
          <ac:chgData name="Meyer Raphael (KOM-PGA-VSF)" userId="79615dfe-ed48-4e74-a40f-4f7b034c1c27" providerId="ADAL" clId="{96D77013-12DF-4911-886E-DED6CCA30677}" dt="2020-09-30T11:38:13.845" v="11" actId="1076"/>
          <ac:spMkLst>
            <pc:docMk/>
            <pc:sldMk cId="278967075" sldId="294"/>
            <ac:spMk id="17" creationId="{B5E6478D-2E3B-4859-9876-DD849397A82E}"/>
          </ac:spMkLst>
        </pc:spChg>
        <pc:graphicFrameChg chg="mod">
          <ac:chgData name="Meyer Raphael (KOM-PGA-VSF)" userId="79615dfe-ed48-4e74-a40f-4f7b034c1c27" providerId="ADAL" clId="{96D77013-12DF-4911-886E-DED6CCA30677}" dt="2020-09-30T11:21:51.226" v="4" actId="2085"/>
          <ac:graphicFrameMkLst>
            <pc:docMk/>
            <pc:sldMk cId="278967075" sldId="294"/>
            <ac:graphicFrameMk id="18" creationId="{9C553D07-24F5-41AC-9FDF-CB98346595E5}"/>
          </ac:graphicFrameMkLst>
        </pc:graphicFrameChg>
        <pc:graphicFrameChg chg="mod">
          <ac:chgData name="Meyer Raphael (KOM-PGA-VSF)" userId="79615dfe-ed48-4e74-a40f-4f7b034c1c27" providerId="ADAL" clId="{96D77013-12DF-4911-886E-DED6CCA30677}" dt="2020-09-30T11:22:19.476" v="7" actId="2085"/>
          <ac:graphicFrameMkLst>
            <pc:docMk/>
            <pc:sldMk cId="278967075" sldId="294"/>
            <ac:graphicFrameMk id="19" creationId="{13003C14-5693-4BC8-B311-D58088B76A20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18T15:19:55.161" v="3194"/>
        <pc:sldMkLst>
          <pc:docMk/>
          <pc:sldMk cId="342226240" sldId="295"/>
        </pc:sldMkLst>
        <pc:spChg chg="mod">
          <ac:chgData name="Meyer Raphael (KOM-PGA-VSF)" userId="79615dfe-ed48-4e74-a40f-4f7b034c1c27" providerId="ADAL" clId="{96D77013-12DF-4911-886E-DED6CCA30677}" dt="2020-11-18T09:30:54.597" v="2558"/>
          <ac:spMkLst>
            <pc:docMk/>
            <pc:sldMk cId="342226240" sldId="29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09-30T11:41:30.947" v="63" actId="478"/>
          <ac:spMkLst>
            <pc:docMk/>
            <pc:sldMk cId="342226240" sldId="295"/>
            <ac:spMk id="4" creationId="{E364C23F-272E-4E37-9AAA-54A8205ED9AF}"/>
          </ac:spMkLst>
        </pc:spChg>
        <pc:spChg chg="add mod">
          <ac:chgData name="Meyer Raphael (KOM-PGA-VSF)" userId="79615dfe-ed48-4e74-a40f-4f7b034c1c27" providerId="ADAL" clId="{96D77013-12DF-4911-886E-DED6CCA30677}" dt="2020-09-30T11:41:11.200" v="60" actId="1076"/>
          <ac:spMkLst>
            <pc:docMk/>
            <pc:sldMk cId="342226240" sldId="295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1-13T12:59:35.120" v="851" actId="20577"/>
          <ac:spMkLst>
            <pc:docMk/>
            <pc:sldMk cId="342226240" sldId="295"/>
            <ac:spMk id="8" creationId="{B6DF2E20-66B6-43FF-BD5C-488FAFC28EE4}"/>
          </ac:spMkLst>
        </pc:spChg>
        <pc:spChg chg="add mod">
          <ac:chgData name="Meyer Raphael (KOM-PGA-VSF)" userId="79615dfe-ed48-4e74-a40f-4f7b034c1c27" providerId="ADAL" clId="{96D77013-12DF-4911-886E-DED6CCA30677}" dt="2020-10-07T11:44:49.019" v="93" actId="1076"/>
          <ac:spMkLst>
            <pc:docMk/>
            <pc:sldMk cId="342226240" sldId="295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31:10.795" v="2561"/>
          <ac:spMkLst>
            <pc:docMk/>
            <pc:sldMk cId="342226240" sldId="295"/>
            <ac:spMk id="10" creationId="{077DFD58-E5EE-4B68-9325-D935DB04DD40}"/>
          </ac:spMkLst>
        </pc:spChg>
        <pc:graphicFrameChg chg="add mod">
          <ac:chgData name="Meyer Raphael (KOM-PGA-VSF)" userId="79615dfe-ed48-4e74-a40f-4f7b034c1c27" providerId="ADAL" clId="{96D77013-12DF-4911-886E-DED6CCA30677}" dt="2020-09-30T11:42:33.301" v="68" actId="1076"/>
          <ac:graphicFrameMkLst>
            <pc:docMk/>
            <pc:sldMk cId="342226240" sldId="295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09-30T11:42:43.651" v="69" actId="1076"/>
          <ac:graphicFrameMkLst>
            <pc:docMk/>
            <pc:sldMk cId="342226240" sldId="295"/>
            <ac:graphicFrameMk id="6" creationId="{60571ECF-B349-4A7D-BB52-C93BE55CD5F3}"/>
          </ac:graphicFrameMkLst>
        </pc:graphicFrameChg>
      </pc:sldChg>
      <pc:sldChg chg="addSp delSp modSp add mod ord modTransition">
        <pc:chgData name="Meyer Raphael (KOM-PGA-VSF)" userId="79615dfe-ed48-4e74-a40f-4f7b034c1c27" providerId="ADAL" clId="{96D77013-12DF-4911-886E-DED6CCA30677}" dt="2020-11-25T13:49:29.843" v="3323"/>
        <pc:sldMkLst>
          <pc:docMk/>
          <pc:sldMk cId="1492035608" sldId="296"/>
        </pc:sldMkLst>
        <pc:spChg chg="mod">
          <ac:chgData name="Meyer Raphael (KOM-PGA-VSF)" userId="79615dfe-ed48-4e74-a40f-4f7b034c1c27" providerId="ADAL" clId="{96D77013-12DF-4911-886E-DED6CCA30677}" dt="2020-11-18T15:23:11.379" v="3209"/>
          <ac:spMkLst>
            <pc:docMk/>
            <pc:sldMk cId="1492035608" sldId="296"/>
            <ac:spMk id="2" creationId="{4294D798-D9CC-4779-9F40-A41AB7676D80}"/>
          </ac:spMkLst>
        </pc:spChg>
        <pc:spChg chg="del">
          <ac:chgData name="Meyer Raphael (KOM-PGA-VSF)" userId="79615dfe-ed48-4e74-a40f-4f7b034c1c27" providerId="ADAL" clId="{96D77013-12DF-4911-886E-DED6CCA30677}" dt="2020-10-27T10:45:40.203" v="143" actId="478"/>
          <ac:spMkLst>
            <pc:docMk/>
            <pc:sldMk cId="1492035608" sldId="296"/>
            <ac:spMk id="4" creationId="{9A10E6FE-137B-4D58-923B-9E162BCCF342}"/>
          </ac:spMkLst>
        </pc:spChg>
        <pc:spChg chg="add del">
          <ac:chgData name="Meyer Raphael (KOM-PGA-VSF)" userId="79615dfe-ed48-4e74-a40f-4f7b034c1c27" providerId="ADAL" clId="{96D77013-12DF-4911-886E-DED6CCA30677}" dt="2020-10-27T10:52:15.686" v="170" actId="478"/>
          <ac:spMkLst>
            <pc:docMk/>
            <pc:sldMk cId="1492035608" sldId="296"/>
            <ac:spMk id="6" creationId="{370F36C1-7EAD-44EF-A453-7008D2EBD880}"/>
          </ac:spMkLst>
        </pc:spChg>
        <pc:spChg chg="add mod">
          <ac:chgData name="Meyer Raphael (KOM-PGA-VSF)" userId="79615dfe-ed48-4e74-a40f-4f7b034c1c27" providerId="ADAL" clId="{96D77013-12DF-4911-886E-DED6CCA30677}" dt="2020-11-18T15:23:21.215" v="3210"/>
          <ac:spMkLst>
            <pc:docMk/>
            <pc:sldMk cId="1492035608" sldId="296"/>
            <ac:spMk id="7" creationId="{7341AB6C-5169-46A0-9238-C1EBE413EB13}"/>
          </ac:spMkLst>
        </pc:spChg>
        <pc:graphicFrameChg chg="add mod">
          <ac:chgData name="Meyer Raphael (KOM-PGA-VSF)" userId="79615dfe-ed48-4e74-a40f-4f7b034c1c27" providerId="ADAL" clId="{96D77013-12DF-4911-886E-DED6CCA30677}" dt="2020-11-18T15:22:52.987" v="3208"/>
          <ac:graphicFrameMkLst>
            <pc:docMk/>
            <pc:sldMk cId="1492035608" sldId="296"/>
            <ac:graphicFrameMk id="5" creationId="{4C4E0179-01FC-4095-AD01-5923672B37F7}"/>
          </ac:graphicFrameMkLst>
        </pc:graphicFrameChg>
      </pc:sldChg>
      <pc:sldChg chg="addSp delSp modSp add mod ord modTransition setBg">
        <pc:chgData name="Meyer Raphael (KOM-PGA-VSF)" userId="79615dfe-ed48-4e74-a40f-4f7b034c1c27" providerId="ADAL" clId="{96D77013-12DF-4911-886E-DED6CCA30677}" dt="2020-11-17T12:47:34.265" v="1369" actId="27918"/>
        <pc:sldMkLst>
          <pc:docMk/>
          <pc:sldMk cId="1670059232" sldId="297"/>
        </pc:sldMkLst>
        <pc:spChg chg="mod">
          <ac:chgData name="Meyer Raphael (KOM-PGA-VSF)" userId="79615dfe-ed48-4e74-a40f-4f7b034c1c27" providerId="ADAL" clId="{96D77013-12DF-4911-886E-DED6CCA30677}" dt="2020-11-17T10:38:28.544" v="1169" actId="20577"/>
          <ac:spMkLst>
            <pc:docMk/>
            <pc:sldMk cId="1670059232" sldId="297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7T08:38:22.882" v="1025" actId="1076"/>
          <ac:spMkLst>
            <pc:docMk/>
            <pc:sldMk cId="1670059232" sldId="297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17T07:48:28.018" v="949" actId="478"/>
          <ac:spMkLst>
            <pc:docMk/>
            <pc:sldMk cId="1670059232" sldId="297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7T10:25:45.756" v="1148" actId="1076"/>
          <ac:spMkLst>
            <pc:docMk/>
            <pc:sldMk cId="1670059232" sldId="297"/>
            <ac:spMk id="9" creationId="{B6990B61-32B2-4ADC-BF01-EDF7B4080F97}"/>
          </ac:spMkLst>
        </pc:spChg>
        <pc:spChg chg="add del mod">
          <ac:chgData name="Meyer Raphael (KOM-PGA-VSF)" userId="79615dfe-ed48-4e74-a40f-4f7b034c1c27" providerId="ADAL" clId="{96D77013-12DF-4911-886E-DED6CCA30677}" dt="2020-11-17T12:26:57.973" v="1241"/>
          <ac:spMkLst>
            <pc:docMk/>
            <pc:sldMk cId="1670059232" sldId="297"/>
            <ac:spMk id="12" creationId="{52294493-C20C-4A63-9105-043CA5A1DA10}"/>
          </ac:spMkLst>
        </pc:spChg>
        <pc:spChg chg="add mod">
          <ac:chgData name="Meyer Raphael (KOM-PGA-VSF)" userId="79615dfe-ed48-4e74-a40f-4f7b034c1c27" providerId="ADAL" clId="{96D77013-12DF-4911-886E-DED6CCA30677}" dt="2020-11-17T12:27:52.647" v="1260" actId="20577"/>
          <ac:spMkLst>
            <pc:docMk/>
            <pc:sldMk cId="1670059232" sldId="297"/>
            <ac:spMk id="13" creationId="{5F25AD10-BAC9-4E8D-A3B3-3F3B37120D18}"/>
          </ac:spMkLst>
        </pc:spChg>
        <pc:spChg chg="add mod">
          <ac:chgData name="Meyer Raphael (KOM-PGA-VSF)" userId="79615dfe-ed48-4e74-a40f-4f7b034c1c27" providerId="ADAL" clId="{96D77013-12DF-4911-886E-DED6CCA30677}" dt="2020-11-17T12:36:01.977" v="1325" actId="1076"/>
          <ac:spMkLst>
            <pc:docMk/>
            <pc:sldMk cId="1670059232" sldId="297"/>
            <ac:spMk id="15" creationId="{BF705243-783E-4A9E-B41E-B5E5E3EC1E51}"/>
          </ac:spMkLst>
        </pc:spChg>
        <pc:spChg chg="add del mod">
          <ac:chgData name="Meyer Raphael (KOM-PGA-VSF)" userId="79615dfe-ed48-4e74-a40f-4f7b034c1c27" providerId="ADAL" clId="{96D77013-12DF-4911-886E-DED6CCA30677}" dt="2020-11-17T12:31:34.416" v="1310" actId="478"/>
          <ac:spMkLst>
            <pc:docMk/>
            <pc:sldMk cId="1670059232" sldId="297"/>
            <ac:spMk id="16" creationId="{CAE6C648-73DB-4A97-AB8E-196D106E3D28}"/>
          </ac:spMkLst>
        </pc:spChg>
        <pc:graphicFrameChg chg="mod">
          <ac:chgData name="Meyer Raphael (KOM-PGA-VSF)" userId="79615dfe-ed48-4e74-a40f-4f7b034c1c27" providerId="ADAL" clId="{96D77013-12DF-4911-886E-DED6CCA30677}" dt="2020-11-17T12:36:44.059" v="1356"/>
          <ac:graphicFrameMkLst>
            <pc:docMk/>
            <pc:sldMk cId="1670059232" sldId="297"/>
            <ac:graphicFrameMk id="5" creationId="{4CF6AB8B-CAB9-4C7E-8E59-E00357A4D7F0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10:25:37.458" v="1147" actId="478"/>
          <ac:graphicFrameMkLst>
            <pc:docMk/>
            <pc:sldMk cId="1670059232" sldId="297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1-17T12:26:49.739" v="1238" actId="11529"/>
          <ac:cxnSpMkLst>
            <pc:docMk/>
            <pc:sldMk cId="1670059232" sldId="297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07:48:12.600" v="945" actId="478"/>
          <ac:cxnSpMkLst>
            <pc:docMk/>
            <pc:sldMk cId="1670059232" sldId="297"/>
            <ac:cxnSpMk id="11" creationId="{B63FEDE5-C1DE-450C-9441-3739C88B7DFA}"/>
          </ac:cxnSpMkLst>
        </pc:cxnChg>
        <pc:cxnChg chg="add mod">
          <ac:chgData name="Meyer Raphael (KOM-PGA-VSF)" userId="79615dfe-ed48-4e74-a40f-4f7b034c1c27" providerId="ADAL" clId="{96D77013-12DF-4911-886E-DED6CCA30677}" dt="2020-11-17T12:35:56.354" v="1324" actId="1076"/>
          <ac:cxnSpMkLst>
            <pc:docMk/>
            <pc:sldMk cId="1670059232" sldId="297"/>
            <ac:cxnSpMk id="14" creationId="{0074DA36-AC1B-434E-8C33-ED084765FD3B}"/>
          </ac:cxnSpMkLst>
        </pc:cxnChg>
      </pc:sldChg>
      <pc:sldChg chg="addSp delSp modSp add mod">
        <pc:chgData name="Meyer Raphael (KOM-PGA-VSF)" userId="79615dfe-ed48-4e74-a40f-4f7b034c1c27" providerId="ADAL" clId="{96D77013-12DF-4911-886E-DED6CCA30677}" dt="2020-11-13T12:57:42.543" v="832" actId="478"/>
        <pc:sldMkLst>
          <pc:docMk/>
          <pc:sldMk cId="1495152177" sldId="298"/>
        </pc:sldMkLst>
        <pc:spChg chg="mod">
          <ac:chgData name="Meyer Raphael (KOM-PGA-VSF)" userId="79615dfe-ed48-4e74-a40f-4f7b034c1c27" providerId="ADAL" clId="{96D77013-12DF-4911-886E-DED6CCA30677}" dt="2020-11-13T12:56:47.812" v="786" actId="20577"/>
          <ac:spMkLst>
            <pc:docMk/>
            <pc:sldMk cId="1495152177" sldId="298"/>
            <ac:spMk id="2" creationId="{A2DC317F-F1F4-4624-8FC1-3B68C1DBB3DA}"/>
          </ac:spMkLst>
        </pc:spChg>
        <pc:spChg chg="del mod">
          <ac:chgData name="Meyer Raphael (KOM-PGA-VSF)" userId="79615dfe-ed48-4e74-a40f-4f7b034c1c27" providerId="ADAL" clId="{96D77013-12DF-4911-886E-DED6CCA30677}" dt="2020-10-30T14:44:52.985" v="285" actId="478"/>
          <ac:spMkLst>
            <pc:docMk/>
            <pc:sldMk cId="1495152177" sldId="298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0-30T14:45:37.002" v="305" actId="478"/>
          <ac:spMkLst>
            <pc:docMk/>
            <pc:sldMk cId="1495152177" sldId="298"/>
            <ac:spMk id="8" creationId="{B6DF2E20-66B6-43FF-BD5C-488FAFC28EE4}"/>
          </ac:spMkLst>
        </pc:spChg>
        <pc:spChg chg="del mod">
          <ac:chgData name="Meyer Raphael (KOM-PGA-VSF)" userId="79615dfe-ed48-4e74-a40f-4f7b034c1c27" providerId="ADAL" clId="{96D77013-12DF-4911-886E-DED6CCA30677}" dt="2020-10-30T14:44:49.827" v="284" actId="478"/>
          <ac:spMkLst>
            <pc:docMk/>
            <pc:sldMk cId="1495152177" sldId="29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3T12:56:57.286" v="799" actId="6549"/>
          <ac:spMkLst>
            <pc:docMk/>
            <pc:sldMk cId="1495152177" sldId="298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0-30T14:51:01.192" v="362" actId="1076"/>
          <ac:spMkLst>
            <pc:docMk/>
            <pc:sldMk cId="1495152177" sldId="298"/>
            <ac:spMk id="11" creationId="{216B739F-8150-4262-9342-2F1CBFEB8A15}"/>
          </ac:spMkLst>
        </pc:spChg>
        <pc:spChg chg="add mod">
          <ac:chgData name="Meyer Raphael (KOM-PGA-VSF)" userId="79615dfe-ed48-4e74-a40f-4f7b034c1c27" providerId="ADAL" clId="{96D77013-12DF-4911-886E-DED6CCA30677}" dt="2020-10-30T14:50:57.916" v="361" actId="1076"/>
          <ac:spMkLst>
            <pc:docMk/>
            <pc:sldMk cId="1495152177" sldId="298"/>
            <ac:spMk id="12" creationId="{466A77C5-3AD7-44B3-83A7-0B8FF87DCA70}"/>
          </ac:spMkLst>
        </pc:spChg>
        <pc:spChg chg="add del mod">
          <ac:chgData name="Meyer Raphael (KOM-PGA-VSF)" userId="79615dfe-ed48-4e74-a40f-4f7b034c1c27" providerId="ADAL" clId="{96D77013-12DF-4911-886E-DED6CCA30677}" dt="2020-11-13T12:57:42.543" v="832" actId="478"/>
          <ac:spMkLst>
            <pc:docMk/>
            <pc:sldMk cId="1495152177" sldId="298"/>
            <ac:spMk id="14" creationId="{FD64CF28-6B33-4810-94AF-48BDFC5B6DB7}"/>
          </ac:spMkLst>
        </pc:spChg>
        <pc:spChg chg="add mod">
          <ac:chgData name="Meyer Raphael (KOM-PGA-VSF)" userId="79615dfe-ed48-4e74-a40f-4f7b034c1c27" providerId="ADAL" clId="{96D77013-12DF-4911-886E-DED6CCA30677}" dt="2020-10-30T14:55:15.136" v="403" actId="1038"/>
          <ac:spMkLst>
            <pc:docMk/>
            <pc:sldMk cId="1495152177" sldId="298"/>
            <ac:spMk id="16" creationId="{E0218AF3-B8F0-43F9-B56B-123AF027A635}"/>
          </ac:spMkLst>
        </pc:spChg>
        <pc:spChg chg="add del mod">
          <ac:chgData name="Meyer Raphael (KOM-PGA-VSF)" userId="79615dfe-ed48-4e74-a40f-4f7b034c1c27" providerId="ADAL" clId="{96D77013-12DF-4911-886E-DED6CCA30677}" dt="2020-10-30T14:56:49.786" v="418" actId="478"/>
          <ac:spMkLst>
            <pc:docMk/>
            <pc:sldMk cId="1495152177" sldId="298"/>
            <ac:spMk id="20" creationId="{1A4B8815-1463-4BB0-B626-12094D0AA1A9}"/>
          </ac:spMkLst>
        </pc:spChg>
        <pc:graphicFrameChg chg="mod">
          <ac:chgData name="Meyer Raphael (KOM-PGA-VSF)" userId="79615dfe-ed48-4e74-a40f-4f7b034c1c27" providerId="ADAL" clId="{96D77013-12DF-4911-886E-DED6CCA30677}" dt="2020-10-30T14:56:46.828" v="417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0-30T14:38:26.393" v="249" actId="478"/>
          <ac:graphicFrameMkLst>
            <pc:docMk/>
            <pc:sldMk cId="1495152177" sldId="298"/>
            <ac:graphicFrameMk id="6" creationId="{60571ECF-B349-4A7D-BB52-C93BE55CD5F3}"/>
          </ac:graphicFrameMkLst>
        </pc:graphicFrameChg>
        <pc:cxnChg chg="add mod">
          <ac:chgData name="Meyer Raphael (KOM-PGA-VSF)" userId="79615dfe-ed48-4e74-a40f-4f7b034c1c27" providerId="ADAL" clId="{96D77013-12DF-4911-886E-DED6CCA30677}" dt="2020-10-30T14:49:55.288" v="329" actId="692"/>
          <ac:cxnSpMkLst>
            <pc:docMk/>
            <pc:sldMk cId="1495152177" sldId="298"/>
            <ac:cxnSpMk id="13" creationId="{B728F4DE-8CC6-4054-BA1D-EBF2119A4EBB}"/>
          </ac:cxnSpMkLst>
        </pc:cxnChg>
        <pc:cxnChg chg="add mod">
          <ac:chgData name="Meyer Raphael (KOM-PGA-VSF)" userId="79615dfe-ed48-4e74-a40f-4f7b034c1c27" providerId="ADAL" clId="{96D77013-12DF-4911-886E-DED6CCA30677}" dt="2020-10-30T14:56:16.344" v="409" actId="14100"/>
          <ac:cxnSpMkLst>
            <pc:docMk/>
            <pc:sldMk cId="1495152177" sldId="298"/>
            <ac:cxnSpMk id="17" creationId="{FC62769B-4223-45AE-B088-516EBE8DECCF}"/>
          </ac:cxnSpMkLst>
        </pc:cxnChg>
      </pc:sldChg>
      <pc:sldChg chg="addSp delSp modSp add del modTransition">
        <pc:chgData name="Meyer Raphael (KOM-PGA-VSF)" userId="79615dfe-ed48-4e74-a40f-4f7b034c1c27" providerId="ADAL" clId="{96D77013-12DF-4911-886E-DED6CCA30677}" dt="2020-11-17T07:47:32.047" v="942" actId="2696"/>
        <pc:sldMkLst>
          <pc:docMk/>
          <pc:sldMk cId="2857925706" sldId="299"/>
        </pc:sldMkLst>
        <pc:spChg chg="mod">
          <ac:chgData name="Meyer Raphael (KOM-PGA-VSF)" userId="79615dfe-ed48-4e74-a40f-4f7b034c1c27" providerId="ADAL" clId="{96D77013-12DF-4911-886E-DED6CCA30677}" dt="2020-11-13T12:44:15.160" v="641" actId="20577"/>
          <ac:spMkLst>
            <pc:docMk/>
            <pc:sldMk cId="2857925706" sldId="299"/>
            <ac:spMk id="2" creationId="{81038B16-E406-45E6-A6A5-77762D042816}"/>
          </ac:spMkLst>
        </pc:spChg>
        <pc:spChg chg="del">
          <ac:chgData name="Meyer Raphael (KOM-PGA-VSF)" userId="79615dfe-ed48-4e74-a40f-4f7b034c1c27" providerId="ADAL" clId="{96D77013-12DF-4911-886E-DED6CCA30677}" dt="2020-11-13T10:20:13.916" v="519" actId="478"/>
          <ac:spMkLst>
            <pc:docMk/>
            <pc:sldMk cId="2857925706" sldId="299"/>
            <ac:spMk id="3" creationId="{0CCFE15B-29DC-48F4-BEFD-EE39FCE2CCB3}"/>
          </ac:spMkLst>
        </pc:spChg>
        <pc:picChg chg="add mod">
          <ac:chgData name="Meyer Raphael (KOM-PGA-VSF)" userId="79615dfe-ed48-4e74-a40f-4f7b034c1c27" providerId="ADAL" clId="{96D77013-12DF-4911-886E-DED6CCA30677}" dt="2020-11-13T10:20:39.687" v="522" actId="1076"/>
          <ac:picMkLst>
            <pc:docMk/>
            <pc:sldMk cId="2857925706" sldId="299"/>
            <ac:picMk id="4" creationId="{EC7D5083-9BDA-4D74-A5F4-CBFCE6FB3188}"/>
          </ac:picMkLst>
        </pc:picChg>
      </pc:sldChg>
      <pc:sldChg chg="addSp delSp modSp add del modTransition">
        <pc:chgData name="Meyer Raphael (KOM-PGA-VSF)" userId="79615dfe-ed48-4e74-a40f-4f7b034c1c27" providerId="ADAL" clId="{96D77013-12DF-4911-886E-DED6CCA30677}" dt="2020-11-17T07:47:33.793" v="943" actId="2696"/>
        <pc:sldMkLst>
          <pc:docMk/>
          <pc:sldMk cId="394607211" sldId="300"/>
        </pc:sldMkLst>
        <pc:spChg chg="mod">
          <ac:chgData name="Meyer Raphael (KOM-PGA-VSF)" userId="79615dfe-ed48-4e74-a40f-4f7b034c1c27" providerId="ADAL" clId="{96D77013-12DF-4911-886E-DED6CCA30677}" dt="2020-11-13T12:44:07.984" v="627" actId="20577"/>
          <ac:spMkLst>
            <pc:docMk/>
            <pc:sldMk cId="394607211" sldId="300"/>
            <ac:spMk id="2" creationId="{9756FC1E-A507-4005-A4F1-10A9CF677E6B}"/>
          </ac:spMkLst>
        </pc:spChg>
        <pc:spChg chg="del">
          <ac:chgData name="Meyer Raphael (KOM-PGA-VSF)" userId="79615dfe-ed48-4e74-a40f-4f7b034c1c27" providerId="ADAL" clId="{96D77013-12DF-4911-886E-DED6CCA30677}" dt="2020-11-13T10:27:18.702" v="525" actId="478"/>
          <ac:spMkLst>
            <pc:docMk/>
            <pc:sldMk cId="394607211" sldId="300"/>
            <ac:spMk id="3" creationId="{AF6057A0-CC6B-401B-B6C9-C927BAE3A639}"/>
          </ac:spMkLst>
        </pc:spChg>
        <pc:picChg chg="add mod">
          <ac:chgData name="Meyer Raphael (KOM-PGA-VSF)" userId="79615dfe-ed48-4e74-a40f-4f7b034c1c27" providerId="ADAL" clId="{96D77013-12DF-4911-886E-DED6CCA30677}" dt="2020-11-13T10:27:22.709" v="527" actId="14100"/>
          <ac:picMkLst>
            <pc:docMk/>
            <pc:sldMk cId="394607211" sldId="300"/>
            <ac:picMk id="4" creationId="{FA432D02-F1A0-4AE5-BEB8-C19D1B48CF36}"/>
          </ac:picMkLst>
        </pc:picChg>
      </pc:sldChg>
      <pc:sldChg chg="addSp modSp add ord modTransition">
        <pc:chgData name="Meyer Raphael (KOM-PGA-VSF)" userId="79615dfe-ed48-4e74-a40f-4f7b034c1c27" providerId="ADAL" clId="{96D77013-12DF-4911-886E-DED6CCA30677}" dt="2020-11-17T07:40:59.497" v="910"/>
        <pc:sldMkLst>
          <pc:docMk/>
          <pc:sldMk cId="1794381502" sldId="301"/>
        </pc:sldMkLst>
        <pc:spChg chg="mod">
          <ac:chgData name="Meyer Raphael (KOM-PGA-VSF)" userId="79615dfe-ed48-4e74-a40f-4f7b034c1c27" providerId="ADAL" clId="{96D77013-12DF-4911-886E-DED6CCA30677}" dt="2020-11-13T12:28:38.603" v="551" actId="20577"/>
          <ac:spMkLst>
            <pc:docMk/>
            <pc:sldMk cId="1794381502" sldId="301"/>
            <ac:spMk id="2" creationId="{A2DC317F-F1F4-4624-8FC1-3B68C1DBB3DA}"/>
          </ac:spMkLst>
        </pc:spChg>
        <pc:spChg chg="add mod">
          <ac:chgData name="Meyer Raphael (KOM-PGA-VSF)" userId="79615dfe-ed48-4e74-a40f-4f7b034c1c27" providerId="ADAL" clId="{96D77013-12DF-4911-886E-DED6CCA30677}" dt="2020-11-16T12:58:27.730" v="890" actId="14100"/>
          <ac:spMkLst>
            <pc:docMk/>
            <pc:sldMk cId="1794381502" sldId="301"/>
            <ac:spMk id="4" creationId="{DD1AED53-67C2-4736-A0FC-13C9756ED56F}"/>
          </ac:spMkLst>
        </pc:spChg>
        <pc:spChg chg="mod">
          <ac:chgData name="Meyer Raphael (KOM-PGA-VSF)" userId="79615dfe-ed48-4e74-a40f-4f7b034c1c27" providerId="ADAL" clId="{96D77013-12DF-4911-886E-DED6CCA30677}" dt="2020-11-16T13:16:49.371" v="909" actId="1076"/>
          <ac:spMkLst>
            <pc:docMk/>
            <pc:sldMk cId="1794381502" sldId="301"/>
            <ac:spMk id="8" creationId="{B6DF2E20-66B6-43FF-BD5C-488FAFC28EE4}"/>
          </ac:spMkLst>
        </pc:spChg>
        <pc:spChg chg="mod">
          <ac:chgData name="Meyer Raphael (KOM-PGA-VSF)" userId="79615dfe-ed48-4e74-a40f-4f7b034c1c27" providerId="ADAL" clId="{96D77013-12DF-4911-886E-DED6CCA30677}" dt="2020-11-13T12:28:50.419" v="561" actId="20577"/>
          <ac:spMkLst>
            <pc:docMk/>
            <pc:sldMk cId="1794381502" sldId="301"/>
            <ac:spMk id="10" creationId="{077DFD58-E5EE-4B68-9325-D935DB04DD40}"/>
          </ac:spMkLst>
        </pc:spChg>
        <pc:spChg chg="add mod">
          <ac:chgData name="Meyer Raphael (KOM-PGA-VSF)" userId="79615dfe-ed48-4e74-a40f-4f7b034c1c27" providerId="ADAL" clId="{96D77013-12DF-4911-886E-DED6CCA30677}" dt="2020-11-16T12:59:09.661" v="908" actId="20577"/>
          <ac:spMkLst>
            <pc:docMk/>
            <pc:sldMk cId="1794381502" sldId="301"/>
            <ac:spMk id="12" creationId="{9BE5D2CD-A67D-4F17-BA1D-B6A27E5681C6}"/>
          </ac:spMkLst>
        </pc:spChg>
        <pc:cxnChg chg="add mod">
          <ac:chgData name="Meyer Raphael (KOM-PGA-VSF)" userId="79615dfe-ed48-4e74-a40f-4f7b034c1c27" providerId="ADAL" clId="{96D77013-12DF-4911-886E-DED6CCA30677}" dt="2020-11-16T12:57:59.177" v="873" actId="14100"/>
          <ac:cxnSpMkLst>
            <pc:docMk/>
            <pc:sldMk cId="1794381502" sldId="301"/>
            <ac:cxnSpMk id="11" creationId="{C0CD2DE0-32DF-43C1-88A0-8090F1AADDFB}"/>
          </ac:cxnSpMkLst>
        </pc:cxnChg>
      </pc:sldChg>
      <pc:sldChg chg="addSp delSp modSp add modTransition">
        <pc:chgData name="Meyer Raphael (KOM-PGA-VSF)" userId="79615dfe-ed48-4e74-a40f-4f7b034c1c27" providerId="ADAL" clId="{96D77013-12DF-4911-886E-DED6CCA30677}" dt="2020-11-13T14:59:51.850" v="866"/>
        <pc:sldMkLst>
          <pc:docMk/>
          <pc:sldMk cId="2829123890" sldId="302"/>
        </pc:sldMkLst>
        <pc:spChg chg="mod">
          <ac:chgData name="Meyer Raphael (KOM-PGA-VSF)" userId="79615dfe-ed48-4e74-a40f-4f7b034c1c27" providerId="ADAL" clId="{96D77013-12DF-4911-886E-DED6CCA30677}" dt="2020-11-13T12:48:16.234" v="669" actId="20577"/>
          <ac:spMkLst>
            <pc:docMk/>
            <pc:sldMk cId="2829123890" sldId="302"/>
            <ac:spMk id="2" creationId="{635DB0D4-4CC1-414B-81B2-EE0D3584C6DE}"/>
          </ac:spMkLst>
        </pc:spChg>
        <pc:spChg chg="del">
          <ac:chgData name="Meyer Raphael (KOM-PGA-VSF)" userId="79615dfe-ed48-4e74-a40f-4f7b034c1c27" providerId="ADAL" clId="{96D77013-12DF-4911-886E-DED6CCA30677}" dt="2020-11-13T12:43:21.636" v="565" actId="478"/>
          <ac:spMkLst>
            <pc:docMk/>
            <pc:sldMk cId="2829123890" sldId="302"/>
            <ac:spMk id="3" creationId="{66736F92-B012-4B5C-BFC1-D7B538C36870}"/>
          </ac:spMkLst>
        </pc:spChg>
        <pc:picChg chg="add mod">
          <ac:chgData name="Meyer Raphael (KOM-PGA-VSF)" userId="79615dfe-ed48-4e74-a40f-4f7b034c1c27" providerId="ADAL" clId="{96D77013-12DF-4911-886E-DED6CCA30677}" dt="2020-11-13T12:47:55.165" v="642" actId="1076"/>
          <ac:picMkLst>
            <pc:docMk/>
            <pc:sldMk cId="2829123890" sldId="302"/>
            <ac:picMk id="4" creationId="{A6D7396B-82C2-4818-81A6-716C0CCA1223}"/>
          </ac:picMkLst>
        </pc:picChg>
        <pc:inkChg chg="add">
          <ac:chgData name="Meyer Raphael (KOM-PGA-VSF)" userId="79615dfe-ed48-4e74-a40f-4f7b034c1c27" providerId="ADAL" clId="{96D77013-12DF-4911-886E-DED6CCA30677}" dt="2020-11-13T12:48:43.042" v="670" actId="9405"/>
          <ac:inkMkLst>
            <pc:docMk/>
            <pc:sldMk cId="2829123890" sldId="302"/>
            <ac:inkMk id="5" creationId="{A1F31124-6690-488F-BEE8-03472907467D}"/>
          </ac:inkMkLst>
        </pc:inkChg>
      </pc:sldChg>
      <pc:sldChg chg="addSp delSp modSp add modTransition">
        <pc:chgData name="Meyer Raphael (KOM-PGA-VSF)" userId="79615dfe-ed48-4e74-a40f-4f7b034c1c27" providerId="ADAL" clId="{96D77013-12DF-4911-886E-DED6CCA30677}" dt="2020-11-13T14:59:55.068" v="867"/>
        <pc:sldMkLst>
          <pc:docMk/>
          <pc:sldMk cId="220263692" sldId="303"/>
        </pc:sldMkLst>
        <pc:spChg chg="mod">
          <ac:chgData name="Meyer Raphael (KOM-PGA-VSF)" userId="79615dfe-ed48-4e74-a40f-4f7b034c1c27" providerId="ADAL" clId="{96D77013-12DF-4911-886E-DED6CCA30677}" dt="2020-11-13T12:50:28.060" v="707" actId="20577"/>
          <ac:spMkLst>
            <pc:docMk/>
            <pc:sldMk cId="220263692" sldId="303"/>
            <ac:spMk id="2" creationId="{3D6DD22C-2650-49D4-BB4F-2EA1E69087A7}"/>
          </ac:spMkLst>
        </pc:spChg>
        <pc:spChg chg="del">
          <ac:chgData name="Meyer Raphael (KOM-PGA-VSF)" userId="79615dfe-ed48-4e74-a40f-4f7b034c1c27" providerId="ADAL" clId="{96D77013-12DF-4911-886E-DED6CCA30677}" dt="2020-11-13T12:50:33.733" v="708" actId="478"/>
          <ac:spMkLst>
            <pc:docMk/>
            <pc:sldMk cId="220263692" sldId="303"/>
            <ac:spMk id="3" creationId="{15FA5AD1-9FA4-40B9-9265-A0A90B934551}"/>
          </ac:spMkLst>
        </pc:spChg>
        <pc:spChg chg="add mod">
          <ac:chgData name="Meyer Raphael (KOM-PGA-VSF)" userId="79615dfe-ed48-4e74-a40f-4f7b034c1c27" providerId="ADAL" clId="{96D77013-12DF-4911-886E-DED6CCA30677}" dt="2020-11-13T12:53:23.413" v="762" actId="20577"/>
          <ac:spMkLst>
            <pc:docMk/>
            <pc:sldMk cId="220263692" sldId="303"/>
            <ac:spMk id="6" creationId="{115FFA75-0FB4-4EDC-B269-8FC01449D209}"/>
          </ac:spMkLst>
        </pc:spChg>
        <pc:spChg chg="add mod">
          <ac:chgData name="Meyer Raphael (KOM-PGA-VSF)" userId="79615dfe-ed48-4e74-a40f-4f7b034c1c27" providerId="ADAL" clId="{96D77013-12DF-4911-886E-DED6CCA30677}" dt="2020-11-13T12:51:35.828" v="736" actId="20577"/>
          <ac:spMkLst>
            <pc:docMk/>
            <pc:sldMk cId="220263692" sldId="303"/>
            <ac:spMk id="8" creationId="{70EB3E2A-BBAE-4F62-AB46-F7429AD69DEC}"/>
          </ac:spMkLst>
        </pc:spChg>
        <pc:spChg chg="add">
          <ac:chgData name="Meyer Raphael (KOM-PGA-VSF)" userId="79615dfe-ed48-4e74-a40f-4f7b034c1c27" providerId="ADAL" clId="{96D77013-12DF-4911-886E-DED6CCA30677}" dt="2020-11-13T12:51:42.618" v="737"/>
          <ac:spMkLst>
            <pc:docMk/>
            <pc:sldMk cId="220263692" sldId="303"/>
            <ac:spMk id="9" creationId="{2C399D9A-E2CF-49F0-81FA-67443E9208C1}"/>
          </ac:spMkLst>
        </pc:spChg>
        <pc:spChg chg="add mod">
          <ac:chgData name="Meyer Raphael (KOM-PGA-VSF)" userId="79615dfe-ed48-4e74-a40f-4f7b034c1c27" providerId="ADAL" clId="{96D77013-12DF-4911-886E-DED6CCA30677}" dt="2020-11-13T12:53:26.756" v="766" actId="20577"/>
          <ac:spMkLst>
            <pc:docMk/>
            <pc:sldMk cId="220263692" sldId="303"/>
            <ac:spMk id="10" creationId="{73E1F4CA-61A6-48EE-9D1B-42BBEDF8AF09}"/>
          </ac:spMkLst>
        </pc:spChg>
        <pc:picChg chg="add mod">
          <ac:chgData name="Meyer Raphael (KOM-PGA-VSF)" userId="79615dfe-ed48-4e74-a40f-4f7b034c1c27" providerId="ADAL" clId="{96D77013-12DF-4911-886E-DED6CCA30677}" dt="2020-11-13T12:50:49.231" v="726" actId="14100"/>
          <ac:picMkLst>
            <pc:docMk/>
            <pc:sldMk cId="220263692" sldId="303"/>
            <ac:picMk id="5" creationId="{A732FA37-C035-4240-B571-18EFF4DB6E6F}"/>
          </ac:picMkLst>
        </pc:picChg>
        <pc:picChg chg="add mod">
          <ac:chgData name="Meyer Raphael (KOM-PGA-VSF)" userId="79615dfe-ed48-4e74-a40f-4f7b034c1c27" providerId="ADAL" clId="{96D77013-12DF-4911-886E-DED6CCA30677}" dt="2020-11-13T12:51:27.152" v="730" actId="1076"/>
          <ac:picMkLst>
            <pc:docMk/>
            <pc:sldMk cId="220263692" sldId="303"/>
            <ac:picMk id="7" creationId="{B03252A1-852C-4496-BF1E-5B09E124D414}"/>
          </ac:picMkLst>
        </pc:picChg>
        <pc:picChg chg="add mod">
          <ac:chgData name="Meyer Raphael (KOM-PGA-VSF)" userId="79615dfe-ed48-4e74-a40f-4f7b034c1c27" providerId="ADAL" clId="{96D77013-12DF-4911-886E-DED6CCA30677}" dt="2020-11-13T12:52:20.889" v="745" actId="1076"/>
          <ac:picMkLst>
            <pc:docMk/>
            <pc:sldMk cId="220263692" sldId="303"/>
            <ac:picMk id="11" creationId="{CC9DDBE7-AC46-47A5-B2C1-1DE6F571ECD3}"/>
          </ac:picMkLst>
        </pc:picChg>
        <pc:picChg chg="add mod">
          <ac:chgData name="Meyer Raphael (KOM-PGA-VSF)" userId="79615dfe-ed48-4e74-a40f-4f7b034c1c27" providerId="ADAL" clId="{96D77013-12DF-4911-886E-DED6CCA30677}" dt="2020-11-13T12:52:59.057" v="758" actId="14100"/>
          <ac:picMkLst>
            <pc:docMk/>
            <pc:sldMk cId="220263692" sldId="303"/>
            <ac:picMk id="12" creationId="{896A26EB-136C-44D6-97F9-200136209B45}"/>
          </ac:picMkLst>
        </pc:picChg>
        <pc:inkChg chg="add">
          <ac:chgData name="Meyer Raphael (KOM-PGA-VSF)" userId="79615dfe-ed48-4e74-a40f-4f7b034c1c27" providerId="ADAL" clId="{96D77013-12DF-4911-886E-DED6CCA30677}" dt="2020-11-13T12:50:13.780" v="672" actId="9405"/>
          <ac:inkMkLst>
            <pc:docMk/>
            <pc:sldMk cId="220263692" sldId="303"/>
            <ac:inkMk id="4" creationId="{1312D395-7FB4-4140-8983-C54F21276430}"/>
          </ac:inkMkLst>
        </pc:inkChg>
      </pc:sldChg>
      <pc:sldChg chg="add">
        <pc:chgData name="Meyer Raphael (KOM-PGA-VSF)" userId="79615dfe-ed48-4e74-a40f-4f7b034c1c27" providerId="ADAL" clId="{96D77013-12DF-4911-886E-DED6CCA30677}" dt="2020-11-17T07:48:07.737" v="944"/>
        <pc:sldMkLst>
          <pc:docMk/>
          <pc:sldMk cId="4199929677" sldId="304"/>
        </pc:sldMkLst>
      </pc:sldChg>
      <pc:sldChg chg="addSp delSp modSp add del mod">
        <pc:chgData name="Meyer Raphael (KOM-PGA-VSF)" userId="79615dfe-ed48-4e74-a40f-4f7b034c1c27" providerId="ADAL" clId="{96D77013-12DF-4911-886E-DED6CCA30677}" dt="2020-11-18T15:24:54.926" v="3213" actId="2696"/>
        <pc:sldMkLst>
          <pc:docMk/>
          <pc:sldMk cId="3508847299" sldId="305"/>
        </pc:sldMkLst>
        <pc:spChg chg="del">
          <ac:chgData name="Meyer Raphael (KOM-PGA-VSF)" userId="79615dfe-ed48-4e74-a40f-4f7b034c1c27" providerId="ADAL" clId="{96D77013-12DF-4911-886E-DED6CCA30677}" dt="2020-11-17T08:28:13.207" v="979" actId="478"/>
          <ac:spMkLst>
            <pc:docMk/>
            <pc:sldMk cId="3508847299" sldId="305"/>
            <ac:spMk id="3" creationId="{103D4EC1-0492-4E71-9FEE-5436CB95B92C}"/>
          </ac:spMkLst>
        </pc:spChg>
        <pc:graphicFrameChg chg="del mod">
          <ac:chgData name="Meyer Raphael (KOM-PGA-VSF)" userId="79615dfe-ed48-4e74-a40f-4f7b034c1c27" providerId="ADAL" clId="{96D77013-12DF-4911-886E-DED6CCA30677}" dt="2020-11-17T08:28:45.006" v="980" actId="478"/>
          <ac:graphicFrameMkLst>
            <pc:docMk/>
            <pc:sldMk cId="3508847299" sldId="305"/>
            <ac:graphicFrameMk id="4" creationId="{9291C84A-4C97-461D-9B46-B7F6D5740BFC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6.509" v="981" actId="478"/>
          <ac:graphicFrameMkLst>
            <pc:docMk/>
            <pc:sldMk cId="3508847299" sldId="305"/>
            <ac:graphicFrameMk id="5" creationId="{2E9894B6-5EFD-4731-A89F-8F4180C9963B}"/>
          </ac:graphicFrameMkLst>
        </pc:graphicFrameChg>
        <pc:graphicFrameChg chg="del mod">
          <ac:chgData name="Meyer Raphael (KOM-PGA-VSF)" userId="79615dfe-ed48-4e74-a40f-4f7b034c1c27" providerId="ADAL" clId="{96D77013-12DF-4911-886E-DED6CCA30677}" dt="2020-11-17T08:28:49.814" v="983" actId="478"/>
          <ac:graphicFrameMkLst>
            <pc:docMk/>
            <pc:sldMk cId="3508847299" sldId="305"/>
            <ac:graphicFrameMk id="6" creationId="{31B4DEAA-DBA9-4022-9F5D-6589639B9B82}"/>
          </ac:graphicFrameMkLst>
        </pc:graphicFrameChg>
        <pc:graphicFrameChg chg="del">
          <ac:chgData name="Meyer Raphael (KOM-PGA-VSF)" userId="79615dfe-ed48-4e74-a40f-4f7b034c1c27" providerId="ADAL" clId="{96D77013-12DF-4911-886E-DED6CCA30677}" dt="2020-11-17T08:28:48.011" v="982" actId="478"/>
          <ac:graphicFrameMkLst>
            <pc:docMk/>
            <pc:sldMk cId="3508847299" sldId="305"/>
            <ac:graphicFrameMk id="7" creationId="{88A895FC-410D-4AE5-A635-9F2D1FD0026F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4.174" v="989" actId="478"/>
          <ac:graphicFrameMkLst>
            <pc:docMk/>
            <pc:sldMk cId="3508847299" sldId="305"/>
            <ac:graphicFrameMk id="8" creationId="{9291C84A-4C97-461D-9B46-B7F6D5740BFC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6.403" v="990" actId="478"/>
          <ac:graphicFrameMkLst>
            <pc:docMk/>
            <pc:sldMk cId="3508847299" sldId="305"/>
            <ac:graphicFrameMk id="9" creationId="{2E9894B6-5EFD-4731-A89F-8F4180C9963B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29:39.371" v="993" actId="478"/>
          <ac:graphicFrameMkLst>
            <pc:docMk/>
            <pc:sldMk cId="3508847299" sldId="305"/>
            <ac:graphicFrameMk id="10" creationId="{31B4DEAA-DBA9-4022-9F5D-6589639B9B82}"/>
          </ac:graphicFrameMkLst>
        </pc:graphicFrameChg>
        <pc:graphicFrameChg chg="add del">
          <ac:chgData name="Meyer Raphael (KOM-PGA-VSF)" userId="79615dfe-ed48-4e74-a40f-4f7b034c1c27" providerId="ADAL" clId="{96D77013-12DF-4911-886E-DED6CCA30677}" dt="2020-11-17T08:29:37.953" v="991" actId="478"/>
          <ac:graphicFrameMkLst>
            <pc:docMk/>
            <pc:sldMk cId="3508847299" sldId="305"/>
            <ac:graphicFrameMk id="11" creationId="{88A895FC-410D-4AE5-A635-9F2D1FD0026F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8.985" v="1008" actId="478"/>
          <ac:graphicFrameMkLst>
            <pc:docMk/>
            <pc:sldMk cId="3508847299" sldId="305"/>
            <ac:graphicFrameMk id="14" creationId="{9C5C5DDE-D6ED-4BBE-B2A5-7A22EE55D284}"/>
          </ac:graphicFrameMkLst>
        </pc:graphicFrameChg>
        <pc:graphicFrameChg chg="add del mod">
          <ac:chgData name="Meyer Raphael (KOM-PGA-VSF)" userId="79615dfe-ed48-4e74-a40f-4f7b034c1c27" providerId="ADAL" clId="{96D77013-12DF-4911-886E-DED6CCA30677}" dt="2020-11-17T08:30:56.929" v="1007" actId="478"/>
          <ac:graphicFrameMkLst>
            <pc:docMk/>
            <pc:sldMk cId="3508847299" sldId="305"/>
            <ac:graphicFrameMk id="15" creationId="{8C5E844F-B42F-466A-B7EC-27886D40BEC4}"/>
          </ac:graphicFrameMkLst>
        </pc:graphicFrameChg>
      </pc:sldChg>
      <pc:sldChg chg="addSp delSp modSp add mod ord modTransition addCm delCm">
        <pc:chgData name="Meyer Raphael (KOM-PGA-VSF)" userId="79615dfe-ed48-4e74-a40f-4f7b034c1c27" providerId="ADAL" clId="{96D77013-12DF-4911-886E-DED6CCA30677}" dt="2020-12-16T10:31:07.110" v="3985" actId="27918"/>
        <pc:sldMkLst>
          <pc:docMk/>
          <pc:sldMk cId="1667945532" sldId="306"/>
        </pc:sldMkLst>
        <pc:spChg chg="mod">
          <ac:chgData name="Meyer Raphael (KOM-PGA-VSF)" userId="79615dfe-ed48-4e74-a40f-4f7b034c1c27" providerId="ADAL" clId="{96D77013-12DF-4911-886E-DED6CCA30677}" dt="2020-11-17T15:01:21.422" v="1927" actId="6549"/>
          <ac:spMkLst>
            <pc:docMk/>
            <pc:sldMk cId="1667945532" sldId="306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09:38:30.360" v="2630" actId="478"/>
          <ac:spMkLst>
            <pc:docMk/>
            <pc:sldMk cId="1667945532" sldId="306"/>
            <ac:spMk id="3" creationId="{10790799-4385-4767-B27E-F2CC29801A6B}"/>
          </ac:spMkLst>
        </pc:spChg>
        <pc:spChg chg="mod">
          <ac:chgData name="Meyer Raphael (KOM-PGA-VSF)" userId="79615dfe-ed48-4e74-a40f-4f7b034c1c27" providerId="ADAL" clId="{96D77013-12DF-4911-886E-DED6CCA30677}" dt="2020-12-02T10:40:13.706" v="3492" actId="20577"/>
          <ac:spMkLst>
            <pc:docMk/>
            <pc:sldMk cId="1667945532" sldId="306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7T15:44:21.851" v="2342" actId="14100"/>
          <ac:spMkLst>
            <pc:docMk/>
            <pc:sldMk cId="1667945532" sldId="306"/>
            <ac:spMk id="7" creationId="{BA3F9A72-0541-4D1F-8CD8-1C2B8074FA1B}"/>
          </ac:spMkLst>
        </pc:spChg>
        <pc:spChg chg="add mod">
          <ac:chgData name="Meyer Raphael (KOM-PGA-VSF)" userId="79615dfe-ed48-4e74-a40f-4f7b034c1c27" providerId="ADAL" clId="{96D77013-12DF-4911-886E-DED6CCA30677}" dt="2020-12-16T09:58:22.958" v="394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7T15:44:24.993" v="2343" actId="14100"/>
          <ac:spMkLst>
            <pc:docMk/>
            <pc:sldMk cId="1667945532" sldId="30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7T15:02:01.973" v="1983" actId="20577"/>
          <ac:spMkLst>
            <pc:docMk/>
            <pc:sldMk cId="1667945532" sldId="306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7T13:09:54.211" v="1646" actId="478"/>
          <ac:spMkLst>
            <pc:docMk/>
            <pc:sldMk cId="1667945532" sldId="306"/>
            <ac:spMk id="12" creationId="{C0AB8CF7-2416-4D54-AB32-055AE806E5A6}"/>
          </ac:spMkLst>
        </pc:spChg>
        <pc:spChg chg="del mod">
          <ac:chgData name="Meyer Raphael (KOM-PGA-VSF)" userId="79615dfe-ed48-4e74-a40f-4f7b034c1c27" providerId="ADAL" clId="{96D77013-12DF-4911-886E-DED6CCA30677}" dt="2020-11-17T14:51:36.450" v="1796" actId="478"/>
          <ac:spMkLst>
            <pc:docMk/>
            <pc:sldMk cId="1667945532" sldId="306"/>
            <ac:spMk id="13" creationId="{5F25AD10-BAC9-4E8D-A3B3-3F3B37120D18}"/>
          </ac:spMkLst>
        </pc:spChg>
        <pc:spChg chg="del mod">
          <ac:chgData name="Meyer Raphael (KOM-PGA-VSF)" userId="79615dfe-ed48-4e74-a40f-4f7b034c1c27" providerId="ADAL" clId="{96D77013-12DF-4911-886E-DED6CCA30677}" dt="2020-11-17T13:09:51.552" v="1645" actId="478"/>
          <ac:spMkLst>
            <pc:docMk/>
            <pc:sldMk cId="1667945532" sldId="306"/>
            <ac:spMk id="15" creationId="{BF705243-783E-4A9E-B41E-B5E5E3EC1E51}"/>
          </ac:spMkLst>
        </pc:spChg>
        <pc:spChg chg="add mod">
          <ac:chgData name="Meyer Raphael (KOM-PGA-VSF)" userId="79615dfe-ed48-4e74-a40f-4f7b034c1c27" providerId="ADAL" clId="{96D77013-12DF-4911-886E-DED6CCA30677}" dt="2020-12-02T10:35:42.248" v="3445" actId="20577"/>
          <ac:spMkLst>
            <pc:docMk/>
            <pc:sldMk cId="1667945532" sldId="306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7T13:03:26.510" v="1514" actId="478"/>
          <ac:spMkLst>
            <pc:docMk/>
            <pc:sldMk cId="1667945532" sldId="306"/>
            <ac:spMk id="20" creationId="{3EA94C09-EBAD-4FD8-A84A-06FAD3CA5180}"/>
          </ac:spMkLst>
        </pc:spChg>
        <pc:spChg chg="add del mod">
          <ac:chgData name="Meyer Raphael (KOM-PGA-VSF)" userId="79615dfe-ed48-4e74-a40f-4f7b034c1c27" providerId="ADAL" clId="{96D77013-12DF-4911-886E-DED6CCA30677}" dt="2020-11-17T13:12:42.381" v="1669" actId="478"/>
          <ac:spMkLst>
            <pc:docMk/>
            <pc:sldMk cId="1667945532" sldId="306"/>
            <ac:spMk id="21" creationId="{80894E3A-2E77-4BAF-BEB8-AB3C5CCC1544}"/>
          </ac:spMkLst>
        </pc:spChg>
        <pc:spChg chg="add del mod">
          <ac:chgData name="Meyer Raphael (KOM-PGA-VSF)" userId="79615dfe-ed48-4e74-a40f-4f7b034c1c27" providerId="ADAL" clId="{96D77013-12DF-4911-886E-DED6CCA30677}" dt="2020-12-02T10:44:17.053" v="3560" actId="478"/>
          <ac:spMkLst>
            <pc:docMk/>
            <pc:sldMk cId="1667945532" sldId="306"/>
            <ac:spMk id="21" creationId="{EC5D28F0-DE30-4BF9-9229-A24B6644F176}"/>
          </ac:spMkLst>
        </pc:spChg>
        <pc:spChg chg="add">
          <ac:chgData name="Meyer Raphael (KOM-PGA-VSF)" userId="79615dfe-ed48-4e74-a40f-4f7b034c1c27" providerId="ADAL" clId="{96D77013-12DF-4911-886E-DED6CCA30677}" dt="2020-11-18T15:11:18.219" v="3073"/>
          <ac:spMkLst>
            <pc:docMk/>
            <pc:sldMk cId="1667945532" sldId="306"/>
            <ac:spMk id="22" creationId="{A4D052E9-A3D0-4D29-96C0-4125FCB1567B}"/>
          </ac:spMkLst>
        </pc:spChg>
        <pc:spChg chg="add del">
          <ac:chgData name="Meyer Raphael (KOM-PGA-VSF)" userId="79615dfe-ed48-4e74-a40f-4f7b034c1c27" providerId="ADAL" clId="{96D77013-12DF-4911-886E-DED6CCA30677}" dt="2020-11-18T15:14:28.235" v="3184" actId="478"/>
          <ac:spMkLst>
            <pc:docMk/>
            <pc:sldMk cId="1667945532" sldId="306"/>
            <ac:spMk id="23" creationId="{06416C42-B092-4029-992D-975ADB124450}"/>
          </ac:spMkLst>
        </pc:spChg>
        <pc:spChg chg="add">
          <ac:chgData name="Meyer Raphael (KOM-PGA-VSF)" userId="79615dfe-ed48-4e74-a40f-4f7b034c1c27" providerId="ADAL" clId="{96D77013-12DF-4911-886E-DED6CCA30677}" dt="2020-11-18T15:12:13.258" v="3123"/>
          <ac:spMkLst>
            <pc:docMk/>
            <pc:sldMk cId="1667945532" sldId="306"/>
            <ac:spMk id="25" creationId="{9772D52D-035A-4D28-AE3A-4F5DD2C31620}"/>
          </ac:spMkLst>
        </pc:spChg>
        <pc:spChg chg="add mod">
          <ac:chgData name="Meyer Raphael (KOM-PGA-VSF)" userId="79615dfe-ed48-4e74-a40f-4f7b034c1c27" providerId="ADAL" clId="{96D77013-12DF-4911-886E-DED6CCA30677}" dt="2020-12-02T10:37:49.648" v="3466" actId="20577"/>
          <ac:spMkLst>
            <pc:docMk/>
            <pc:sldMk cId="1667945532" sldId="306"/>
            <ac:spMk id="26" creationId="{BFD498B5-D73E-4C8A-9FAF-B3547647538C}"/>
          </ac:spMkLst>
        </pc:spChg>
        <pc:spChg chg="add mod">
          <ac:chgData name="Meyer Raphael (KOM-PGA-VSF)" userId="79615dfe-ed48-4e74-a40f-4f7b034c1c27" providerId="ADAL" clId="{96D77013-12DF-4911-886E-DED6CCA30677}" dt="2020-12-16T09:59:28.110" v="3955" actId="20577"/>
          <ac:spMkLst>
            <pc:docMk/>
            <pc:sldMk cId="1667945532" sldId="306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09:49.306" v="3771" actId="1036"/>
          <ac:spMkLst>
            <pc:docMk/>
            <pc:sldMk cId="1667945532" sldId="306"/>
            <ac:spMk id="28" creationId="{4492A3CD-6943-423D-BFEC-8129889E8B6F}"/>
          </ac:spMkLst>
        </pc:spChg>
        <pc:spChg chg="add mod">
          <ac:chgData name="Meyer Raphael (KOM-PGA-VSF)" userId="79615dfe-ed48-4e74-a40f-4f7b034c1c27" providerId="ADAL" clId="{96D77013-12DF-4911-886E-DED6CCA30677}" dt="2020-12-16T09:59:59.619" v="3967" actId="20577"/>
          <ac:spMkLst>
            <pc:docMk/>
            <pc:sldMk cId="1667945532" sldId="306"/>
            <ac:spMk id="31" creationId="{7491A47D-CAD4-478D-8F3A-296FFCB799F9}"/>
          </ac:spMkLst>
        </pc:spChg>
        <pc:spChg chg="add mod">
          <ac:chgData name="Meyer Raphael (KOM-PGA-VSF)" userId="79615dfe-ed48-4e74-a40f-4f7b034c1c27" providerId="ADAL" clId="{96D77013-12DF-4911-886E-DED6CCA30677}" dt="2020-12-09T12:09:54.037" v="3773" actId="1035"/>
          <ac:spMkLst>
            <pc:docMk/>
            <pc:sldMk cId="1667945532" sldId="306"/>
            <ac:spMk id="32" creationId="{E65DDA4F-7190-4D5B-B875-6818D18C9F6E}"/>
          </ac:spMkLst>
        </pc:spChg>
        <pc:spChg chg="add del mod">
          <ac:chgData name="Meyer Raphael (KOM-PGA-VSF)" userId="79615dfe-ed48-4e74-a40f-4f7b034c1c27" providerId="ADAL" clId="{96D77013-12DF-4911-886E-DED6CCA30677}" dt="2020-12-02T10:44:19.934" v="3561" actId="478"/>
          <ac:spMkLst>
            <pc:docMk/>
            <pc:sldMk cId="1667945532" sldId="306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3" creationId="{A80F7DEC-022D-4493-8CDE-E61BC06E6C43}"/>
          </ac:spMkLst>
        </pc:spChg>
        <pc:spChg chg="add del">
          <ac:chgData name="Meyer Raphael (KOM-PGA-VSF)" userId="79615dfe-ed48-4e74-a40f-4f7b034c1c27" providerId="ADAL" clId="{96D77013-12DF-4911-886E-DED6CCA30677}" dt="2020-12-09T12:13:13.665" v="3864" actId="478"/>
          <ac:spMkLst>
            <pc:docMk/>
            <pc:sldMk cId="1667945532" sldId="306"/>
            <ac:spMk id="36" creationId="{7F8EE637-C350-4297-B59F-C99D86881D09}"/>
          </ac:spMkLst>
        </pc:spChg>
        <pc:spChg chg="add mod">
          <ac:chgData name="Meyer Raphael (KOM-PGA-VSF)" userId="79615dfe-ed48-4e74-a40f-4f7b034c1c27" providerId="ADAL" clId="{96D77013-12DF-4911-886E-DED6CCA30677}" dt="2020-12-09T12:13:19.236" v="3865" actId="552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KOM-PGA-VSF)" userId="79615dfe-ed48-4e74-a40f-4f7b034c1c27" providerId="ADAL" clId="{96D77013-12DF-4911-886E-DED6CCA30677}" dt="2020-11-18T09:44:31.799" v="2656" actId="14100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add mod">
          <ac:chgData name="Meyer Raphael (KOM-PGA-VSF)" userId="79615dfe-ed48-4e74-a40f-4f7b034c1c27" providerId="ADAL" clId="{96D77013-12DF-4911-886E-DED6CCA30677}" dt="2020-11-18T10:16:57.599" v="2821" actId="14100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del mod">
          <ac:chgData name="Meyer Raphael (KOM-PGA-VSF)" userId="79615dfe-ed48-4e74-a40f-4f7b034c1c27" providerId="ADAL" clId="{96D77013-12DF-4911-886E-DED6CCA30677}" dt="2020-11-17T14:51:38.775" v="1797" actId="478"/>
          <ac:cxnSpMkLst>
            <pc:docMk/>
            <pc:sldMk cId="1667945532" sldId="306"/>
            <ac:cxnSpMk id="4" creationId="{5A6D5A69-1622-463F-9124-B6EF867D5DE3}"/>
          </ac:cxnSpMkLst>
        </pc:cxnChg>
        <pc:cxnChg chg="add del mod">
          <ac:chgData name="Meyer Raphael (KOM-PGA-VSF)" userId="79615dfe-ed48-4e74-a40f-4f7b034c1c27" providerId="ADAL" clId="{96D77013-12DF-4911-886E-DED6CCA30677}" dt="2020-11-17T13:09:55.053" v="1647" actId="478"/>
          <ac:cxnSpMkLst>
            <pc:docMk/>
            <pc:sldMk cId="1667945532" sldId="306"/>
            <ac:cxnSpMk id="11" creationId="{F0BE3543-AEF4-415A-9124-1C616B189F81}"/>
          </ac:cxnSpMkLst>
        </pc:cxnChg>
        <pc:cxnChg chg="del mod">
          <ac:chgData name="Meyer Raphael (KOM-PGA-VSF)" userId="79615dfe-ed48-4e74-a40f-4f7b034c1c27" providerId="ADAL" clId="{96D77013-12DF-4911-886E-DED6CCA30677}" dt="2020-11-17T13:09:56.442" v="1648" actId="478"/>
          <ac:cxnSpMkLst>
            <pc:docMk/>
            <pc:sldMk cId="1667945532" sldId="306"/>
            <ac:cxnSpMk id="14" creationId="{0074DA36-AC1B-434E-8C33-ED084765FD3B}"/>
          </ac:cxnSpMkLst>
        </pc:cxnChg>
        <pc:cxnChg chg="add del mod">
          <ac:chgData name="Meyer Raphael (KOM-PGA-VSF)" userId="79615dfe-ed48-4e74-a40f-4f7b034c1c27" providerId="ADAL" clId="{96D77013-12DF-4911-886E-DED6CCA30677}" dt="2020-11-17T15:43:31.702" v="2321" actId="478"/>
          <ac:cxnSpMkLst>
            <pc:docMk/>
            <pc:sldMk cId="1667945532" sldId="306"/>
            <ac:cxnSpMk id="16" creationId="{280725AD-C395-4922-832F-FD4C3310F595}"/>
          </ac:cxnSpMkLst>
        </pc:cxnChg>
        <pc:cxnChg chg="add mod">
          <ac:chgData name="Meyer Raphael (KOM-PGA-VSF)" userId="79615dfe-ed48-4e74-a40f-4f7b034c1c27" providerId="ADAL" clId="{96D77013-12DF-4911-886E-DED6CCA30677}" dt="2020-12-09T12:10:24.727" v="3809" actId="1036"/>
          <ac:cxnSpMkLst>
            <pc:docMk/>
            <pc:sldMk cId="1667945532" sldId="306"/>
            <ac:cxnSpMk id="20" creationId="{07FCC63F-5E2F-43DF-84ED-5FFEC92A0042}"/>
          </ac:cxnSpMkLst>
        </pc:cxnChg>
        <pc:cxnChg chg="add del mod">
          <ac:chgData name="Meyer Raphael (KOM-PGA-VSF)" userId="79615dfe-ed48-4e74-a40f-4f7b034c1c27" providerId="ADAL" clId="{96D77013-12DF-4911-886E-DED6CCA30677}" dt="2020-11-17T15:43:42.715" v="2325" actId="478"/>
          <ac:cxnSpMkLst>
            <pc:docMk/>
            <pc:sldMk cId="1667945532" sldId="306"/>
            <ac:cxnSpMk id="25" creationId="{EAF4DE04-6573-422B-B20F-1FB0A1E25FDF}"/>
          </ac:cxnSpMkLst>
        </pc:cxnChg>
        <pc:cxnChg chg="add mod ord">
          <ac:chgData name="Meyer Raphael (KOM-PGA-VSF)" userId="79615dfe-ed48-4e74-a40f-4f7b034c1c27" providerId="ADAL" clId="{96D77013-12DF-4911-886E-DED6CCA30677}" dt="2020-12-09T12:07:34.149" v="3739" actId="1038"/>
          <ac:cxnSpMkLst>
            <pc:docMk/>
            <pc:sldMk cId="1667945532" sldId="306"/>
            <ac:cxnSpMk id="29" creationId="{FD3E902F-283F-48FC-9504-FF2FF4EA4BF0}"/>
          </ac:cxnSpMkLst>
        </pc:cxnChg>
        <pc:cxnChg chg="add mod ord">
          <ac:chgData name="Meyer Raphael (KOM-PGA-VSF)" userId="79615dfe-ed48-4e74-a40f-4f7b034c1c27" providerId="ADAL" clId="{96D77013-12DF-4911-886E-DED6CCA30677}" dt="2020-12-09T12:15:56.104" v="3887" actId="1035"/>
          <ac:cxnSpMkLst>
            <pc:docMk/>
            <pc:sldMk cId="1667945532" sldId="306"/>
            <ac:cxnSpMk id="30" creationId="{1D702FCA-793F-404B-84D5-F14C318BFFB3}"/>
          </ac:cxnSpMkLst>
        </pc:cxnChg>
        <pc:cxnChg chg="add del mod ord">
          <ac:chgData name="Meyer Raphael (KOM-PGA-VSF)" userId="79615dfe-ed48-4e74-a40f-4f7b034c1c27" providerId="ADAL" clId="{96D77013-12DF-4911-886E-DED6CCA30677}" dt="2020-11-17T15:41:23.497" v="2205" actId="478"/>
          <ac:cxnSpMkLst>
            <pc:docMk/>
            <pc:sldMk cId="1667945532" sldId="306"/>
            <ac:cxnSpMk id="33" creationId="{E42D3DA0-BF68-4237-88F8-23A5AEB7A3E9}"/>
          </ac:cxnSpMkLst>
        </pc:cxnChg>
        <pc:cxnChg chg="add mod">
          <ac:chgData name="Meyer Raphael (KOM-PGA-VSF)" userId="79615dfe-ed48-4e74-a40f-4f7b034c1c27" providerId="ADAL" clId="{96D77013-12DF-4911-886E-DED6CCA30677}" dt="2020-11-18T09:42:24.399" v="2643" actId="14100"/>
          <ac:cxnSpMkLst>
            <pc:docMk/>
            <pc:sldMk cId="1667945532" sldId="306"/>
            <ac:cxnSpMk id="34" creationId="{A28D3A8B-AB11-4B3B-BFD6-FCBA3464228F}"/>
          </ac:cxnSpMkLst>
        </pc:cxnChg>
        <pc:cxnChg chg="add mod">
          <ac:chgData name="Meyer Raphael (KOM-PGA-VSF)" userId="79615dfe-ed48-4e74-a40f-4f7b034c1c27" providerId="ADAL" clId="{96D77013-12DF-4911-886E-DED6CCA30677}" dt="2020-11-18T10:20:58.342" v="2832" actId="1036"/>
          <ac:cxnSpMkLst>
            <pc:docMk/>
            <pc:sldMk cId="1667945532" sldId="306"/>
            <ac:cxnSpMk id="35" creationId="{3D7E9771-61D5-497A-8FCF-1D1BB3A3C724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1-25T13:55:00.189" v="3366" actId="2696"/>
        <pc:sldMkLst>
          <pc:docMk/>
          <pc:sldMk cId="670071235" sldId="307"/>
        </pc:sldMkLst>
        <pc:spChg chg="mod">
          <ac:chgData name="Meyer Raphael (KOM-PGA-VSF)" userId="79615dfe-ed48-4e74-a40f-4f7b034c1c27" providerId="ADAL" clId="{96D77013-12DF-4911-886E-DED6CCA30677}" dt="2020-11-18T14:53:54.548" v="2933" actId="6549"/>
          <ac:spMkLst>
            <pc:docMk/>
            <pc:sldMk cId="670071235" sldId="307"/>
            <ac:spMk id="2" creationId="{A2DC317F-F1F4-4624-8FC1-3B68C1DBB3DA}"/>
          </ac:spMkLst>
        </pc:spChg>
        <pc:spChg chg="add del mod">
          <ac:chgData name="Meyer Raphael (KOM-PGA-VSF)" userId="79615dfe-ed48-4e74-a40f-4f7b034c1c27" providerId="ADAL" clId="{96D77013-12DF-4911-886E-DED6CCA30677}" dt="2020-11-18T14:57:23.910" v="2989" actId="478"/>
          <ac:spMkLst>
            <pc:docMk/>
            <pc:sldMk cId="670071235" sldId="307"/>
            <ac:spMk id="3" creationId="{34D60BEB-E3B1-4159-A206-E918FDA375C1}"/>
          </ac:spMkLst>
        </pc:spChg>
        <pc:spChg chg="mod">
          <ac:chgData name="Meyer Raphael (KOM-PGA-VSF)" userId="79615dfe-ed48-4e74-a40f-4f7b034c1c27" providerId="ADAL" clId="{96D77013-12DF-4911-886E-DED6CCA30677}" dt="2020-11-18T15:19:17.591" v="3192" actId="20577"/>
          <ac:spMkLst>
            <pc:docMk/>
            <pc:sldMk cId="670071235" sldId="307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6:41.707" v="2987"/>
          <ac:spMkLst>
            <pc:docMk/>
            <pc:sldMk cId="670071235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54:53.280" v="2977" actId="1036"/>
          <ac:spMkLst>
            <pc:docMk/>
            <pc:sldMk cId="670071235" sldId="307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7:08.797" v="2988"/>
          <ac:spMkLst>
            <pc:docMk/>
            <pc:sldMk cId="670071235" sldId="307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54:09.512" v="2936" actId="6549"/>
          <ac:spMkLst>
            <pc:docMk/>
            <pc:sldMk cId="670071235" sldId="307"/>
            <ac:spMk id="10" creationId="{077DFD58-E5EE-4B68-9325-D935DB04DD40}"/>
          </ac:spMkLst>
        </pc:spChg>
        <pc:spChg chg="mod">
          <ac:chgData name="Meyer Raphael (KOM-PGA-VSF)" userId="79615dfe-ed48-4e74-a40f-4f7b034c1c27" providerId="ADAL" clId="{96D77013-12DF-4911-886E-DED6CCA30677}" dt="2020-11-18T14:56:07.814" v="2984" actId="6549"/>
          <ac:spMkLst>
            <pc:docMk/>
            <pc:sldMk cId="670071235" sldId="307"/>
            <ac:spMk id="17" creationId="{785E740C-F94A-4208-8DFD-63A603C16577}"/>
          </ac:spMkLst>
        </pc:spChg>
        <pc:spChg chg="add del mod">
          <ac:chgData name="Meyer Raphael (KOM-PGA-VSF)" userId="79615dfe-ed48-4e74-a40f-4f7b034c1c27" providerId="ADAL" clId="{96D77013-12DF-4911-886E-DED6CCA30677}" dt="2020-11-18T15:13:42.769" v="3135" actId="478"/>
          <ac:spMkLst>
            <pc:docMk/>
            <pc:sldMk cId="670071235" sldId="307"/>
            <ac:spMk id="23" creationId="{27E9F276-A13F-47E6-8402-2CF9F5A375C3}"/>
          </ac:spMkLst>
        </pc:spChg>
        <pc:spChg chg="add">
          <ac:chgData name="Meyer Raphael (KOM-PGA-VSF)" userId="79615dfe-ed48-4e74-a40f-4f7b034c1c27" providerId="ADAL" clId="{96D77013-12DF-4911-886E-DED6CCA30677}" dt="2020-11-18T15:11:22.756" v="3074"/>
          <ac:spMkLst>
            <pc:docMk/>
            <pc:sldMk cId="670071235" sldId="307"/>
            <ac:spMk id="25" creationId="{B9CCF8AC-F3FB-4E3D-B7B7-6B939D110CFA}"/>
          </ac:spMkLst>
        </pc:spChg>
        <pc:spChg chg="mod">
          <ac:chgData name="Meyer Raphael (KOM-PGA-VSF)" userId="79615dfe-ed48-4e74-a40f-4f7b034c1c27" providerId="ADAL" clId="{96D77013-12DF-4911-886E-DED6CCA30677}" dt="2020-11-18T14:56:14.497" v="2986" actId="6549"/>
          <ac:spMkLst>
            <pc:docMk/>
            <pc:sldMk cId="670071235" sldId="307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55:32.658" v="2982" actId="14100"/>
          <ac:spMkLst>
            <pc:docMk/>
            <pc:sldMk cId="670071235" sldId="307"/>
            <ac:spMk id="27" creationId="{46A6B042-39EE-4A58-BBAA-13D52264B660}"/>
          </ac:spMkLst>
        </pc:spChg>
        <pc:spChg chg="add del mod">
          <ac:chgData name="Meyer Raphael (KOM-PGA-VSF)" userId="79615dfe-ed48-4e74-a40f-4f7b034c1c27" providerId="ADAL" clId="{96D77013-12DF-4911-886E-DED6CCA30677}" dt="2020-11-18T15:14:08.092" v="3178" actId="478"/>
          <ac:spMkLst>
            <pc:docMk/>
            <pc:sldMk cId="670071235" sldId="307"/>
            <ac:spMk id="33" creationId="{7A7A5E49-D0F2-4BD1-9628-6224FF24230C}"/>
          </ac:spMkLst>
        </pc:spChg>
        <pc:spChg chg="add mod">
          <ac:chgData name="Meyer Raphael (KOM-PGA-VSF)" userId="79615dfe-ed48-4e74-a40f-4f7b034c1c27" providerId="ADAL" clId="{96D77013-12DF-4911-886E-DED6CCA30677}" dt="2020-11-18T15:11:44.585" v="3114" actId="1038"/>
          <ac:spMkLst>
            <pc:docMk/>
            <pc:sldMk cId="670071235" sldId="307"/>
            <ac:spMk id="36" creationId="{7DD43DE4-C2C1-4271-A990-F4C41E0E0DAB}"/>
          </ac:spMkLst>
        </pc:spChg>
        <pc:spChg chg="add mod">
          <ac:chgData name="Meyer Raphael (KOM-PGA-VSF)" userId="79615dfe-ed48-4e74-a40f-4f7b034c1c27" providerId="ADAL" clId="{96D77013-12DF-4911-886E-DED6CCA30677}" dt="2020-11-18T15:52:18.472" v="3223" actId="20577"/>
          <ac:spMkLst>
            <pc:docMk/>
            <pc:sldMk cId="670071235" sldId="307"/>
            <ac:spMk id="37" creationId="{76E30C07-8435-4061-809C-53D7922D52B8}"/>
          </ac:spMkLst>
        </pc:spChg>
        <pc:spChg chg="add mod">
          <ac:chgData name="Meyer Raphael (KOM-PGA-VSF)" userId="79615dfe-ed48-4e74-a40f-4f7b034c1c27" providerId="ADAL" clId="{96D77013-12DF-4911-886E-DED6CCA30677}" dt="2020-11-18T15:52:21.852" v="3225" actId="20577"/>
          <ac:spMkLst>
            <pc:docMk/>
            <pc:sldMk cId="670071235" sldId="307"/>
            <ac:spMk id="38" creationId="{DE66F159-7628-42D1-ADAE-2EA0A294CF19}"/>
          </ac:spMkLst>
        </pc:spChg>
        <pc:cxnChg chg="mod">
          <ac:chgData name="Meyer Raphael (KOM-PGA-VSF)" userId="79615dfe-ed48-4e74-a40f-4f7b034c1c27" providerId="ADAL" clId="{96D77013-12DF-4911-886E-DED6CCA30677}" dt="2020-11-18T14:54:53.280" v="2977" actId="1036"/>
          <ac:cxnSpMkLst>
            <pc:docMk/>
            <pc:sldMk cId="670071235" sldId="307"/>
            <ac:cxnSpMk id="20" creationId="{07FCC63F-5E2F-43DF-84ED-5FFEC92A0042}"/>
          </ac:cxnSpMkLst>
        </pc:cxnChg>
      </pc:sldChg>
      <pc:sldChg chg="addSp modSp add del">
        <pc:chgData name="Meyer Raphael (KOM-PGA-VSF)" userId="79615dfe-ed48-4e74-a40f-4f7b034c1c27" providerId="ADAL" clId="{96D77013-12DF-4911-886E-DED6CCA30677}" dt="2020-11-18T10:37:29.365" v="2838" actId="2696"/>
        <pc:sldMkLst>
          <pc:docMk/>
          <pc:sldMk cId="4196972661" sldId="307"/>
        </pc:sldMkLst>
        <pc:spChg chg="add mod">
          <ac:chgData name="Meyer Raphael (KOM-PGA-VSF)" userId="79615dfe-ed48-4e74-a40f-4f7b034c1c27" providerId="ADAL" clId="{96D77013-12DF-4911-886E-DED6CCA30677}" dt="2020-11-18T09:54:12.470" v="2662" actId="20577"/>
          <ac:spMkLst>
            <pc:docMk/>
            <pc:sldMk cId="4196972661" sldId="307"/>
            <ac:spMk id="3" creationId="{5E0B0D67-4821-402E-B2AA-89F8238DA93A}"/>
          </ac:spMkLst>
        </pc:spChg>
        <pc:spChg chg="mod">
          <ac:chgData name="Meyer Raphael (KOM-PGA-VSF)" userId="79615dfe-ed48-4e74-a40f-4f7b034c1c27" providerId="ADAL" clId="{96D77013-12DF-4911-886E-DED6CCA30677}" dt="2020-11-18T09:59:30.927" v="2717"/>
          <ac:spMkLst>
            <pc:docMk/>
            <pc:sldMk cId="4196972661" sldId="307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9:22.365" v="2716"/>
          <ac:spMkLst>
            <pc:docMk/>
            <pc:sldMk cId="4196972661" sldId="307"/>
            <ac:spMk id="9" creationId="{B6990B61-32B2-4ADC-BF01-EDF7B4080F97}"/>
          </ac:spMkLst>
        </pc:spChg>
      </pc:sldChg>
      <pc:sldChg chg="addSp modSp add del">
        <pc:chgData name="Meyer Raphael (KOM-PGA-VSF)" userId="79615dfe-ed48-4e74-a40f-4f7b034c1c27" providerId="ADAL" clId="{96D77013-12DF-4911-886E-DED6CCA30677}" dt="2020-11-18T10:37:30.483" v="2839" actId="2696"/>
        <pc:sldMkLst>
          <pc:docMk/>
          <pc:sldMk cId="71469932" sldId="308"/>
        </pc:sldMkLst>
        <pc:spChg chg="mod">
          <ac:chgData name="Meyer Raphael (KOM-PGA-VSF)" userId="79615dfe-ed48-4e74-a40f-4f7b034c1c27" providerId="ADAL" clId="{96D77013-12DF-4911-886E-DED6CCA30677}" dt="2020-11-18T09:57:46.272" v="2714"/>
          <ac:spMkLst>
            <pc:docMk/>
            <pc:sldMk cId="7146993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09:58:02.325" v="2715"/>
          <ac:spMkLst>
            <pc:docMk/>
            <pc:sldMk cId="71469932" sldId="308"/>
            <ac:spMk id="9" creationId="{B6990B61-32B2-4ADC-BF01-EDF7B4080F97}"/>
          </ac:spMkLst>
        </pc:spChg>
        <pc:spChg chg="add mod">
          <ac:chgData name="Meyer Raphael (KOM-PGA-VSF)" userId="79615dfe-ed48-4e74-a40f-4f7b034c1c27" providerId="ADAL" clId="{96D77013-12DF-4911-886E-DED6CCA30677}" dt="2020-11-18T09:54:24.646" v="2667" actId="20577"/>
          <ac:spMkLst>
            <pc:docMk/>
            <pc:sldMk cId="71469932" sldId="308"/>
            <ac:spMk id="21" creationId="{8814E7B8-EA94-4246-9399-E7A06942A010}"/>
          </ac:spMkLst>
        </pc:spChg>
      </pc:sldChg>
      <pc:sldChg chg="addSp delSp modSp add del ord">
        <pc:chgData name="Meyer Raphael (KOM-PGA-VSF)" userId="79615dfe-ed48-4e74-a40f-4f7b034c1c27" providerId="ADAL" clId="{96D77013-12DF-4911-886E-DED6CCA30677}" dt="2020-11-25T13:52:26.962" v="3345" actId="2696"/>
        <pc:sldMkLst>
          <pc:docMk/>
          <pc:sldMk cId="1975790712" sldId="308"/>
        </pc:sldMkLst>
        <pc:spChg chg="mod">
          <ac:chgData name="Meyer Raphael (KOM-PGA-VSF)" userId="79615dfe-ed48-4e74-a40f-4f7b034c1c27" providerId="ADAL" clId="{96D77013-12DF-4911-886E-DED6CCA30677}" dt="2020-11-18T14:47:13.159" v="2853" actId="20577"/>
          <ac:spMkLst>
            <pc:docMk/>
            <pc:sldMk cId="1975790712" sldId="308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1-18T14:53:08.299" v="2930" actId="20577"/>
          <ac:spMkLst>
            <pc:docMk/>
            <pc:sldMk cId="1975790712" sldId="308"/>
            <ac:spMk id="4" creationId="{FE424811-9A99-46D3-9443-AAB22DAEAB5A}"/>
          </ac:spMkLst>
        </pc:spChg>
        <pc:spChg chg="mod">
          <ac:chgData name="Meyer Raphael (KOM-PGA-VSF)" userId="79615dfe-ed48-4e74-a40f-4f7b034c1c27" providerId="ADAL" clId="{96D77013-12DF-4911-886E-DED6CCA30677}" dt="2020-11-18T14:51:12.673" v="2923"/>
          <ac:spMkLst>
            <pc:docMk/>
            <pc:sldMk cId="1975790712" sldId="308"/>
            <ac:spMk id="7" creationId="{BA3F9A72-0541-4D1F-8CD8-1C2B8074FA1B}"/>
          </ac:spMkLst>
        </pc:spChg>
        <pc:spChg chg="mod">
          <ac:chgData name="Meyer Raphael (KOM-PGA-VSF)" userId="79615dfe-ed48-4e74-a40f-4f7b034c1c27" providerId="ADAL" clId="{96D77013-12DF-4911-886E-DED6CCA30677}" dt="2020-11-18T14:48:56.829" v="2910" actId="1035"/>
          <ac:spMkLst>
            <pc:docMk/>
            <pc:sldMk cId="1975790712" sldId="308"/>
            <ac:spMk id="8" creationId="{5857C2A1-2CB8-4D4A-AEFD-E809BF73D04F}"/>
          </ac:spMkLst>
        </pc:spChg>
        <pc:spChg chg="mod">
          <ac:chgData name="Meyer Raphael (KOM-PGA-VSF)" userId="79615dfe-ed48-4e74-a40f-4f7b034c1c27" providerId="ADAL" clId="{96D77013-12DF-4911-886E-DED6CCA30677}" dt="2020-11-18T14:51:26.380" v="2924"/>
          <ac:spMkLst>
            <pc:docMk/>
            <pc:sldMk cId="1975790712" sldId="308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18T14:47:33.770" v="2854"/>
          <ac:spMkLst>
            <pc:docMk/>
            <pc:sldMk cId="1975790712" sldId="308"/>
            <ac:spMk id="10" creationId="{077DFD58-E5EE-4B68-9325-D935DB04DD40}"/>
          </ac:spMkLst>
        </pc:spChg>
        <pc:spChg chg="add del mod">
          <ac:chgData name="Meyer Raphael (KOM-PGA-VSF)" userId="79615dfe-ed48-4e74-a40f-4f7b034c1c27" providerId="ADAL" clId="{96D77013-12DF-4911-886E-DED6CCA30677}" dt="2020-11-18T15:13:36.281" v="3133" actId="478"/>
          <ac:spMkLst>
            <pc:docMk/>
            <pc:sldMk cId="1975790712" sldId="308"/>
            <ac:spMk id="13" creationId="{121AD503-6E65-43E8-A94F-36015FD02EF7}"/>
          </ac:spMkLst>
        </pc:spChg>
        <pc:spChg chg="add mod">
          <ac:chgData name="Meyer Raphael (KOM-PGA-VSF)" userId="79615dfe-ed48-4e74-a40f-4f7b034c1c27" providerId="ADAL" clId="{96D77013-12DF-4911-886E-DED6CCA30677}" dt="2020-11-18T15:11:07.250" v="3072" actId="208"/>
          <ac:spMkLst>
            <pc:docMk/>
            <pc:sldMk cId="1975790712" sldId="308"/>
            <ac:spMk id="14" creationId="{3D296224-CEDF-46A2-BFE7-E76379B44FC1}"/>
          </ac:spMkLst>
        </pc:spChg>
        <pc:spChg chg="mod">
          <ac:chgData name="Meyer Raphael (KOM-PGA-VSF)" userId="79615dfe-ed48-4e74-a40f-4f7b034c1c27" providerId="ADAL" clId="{96D77013-12DF-4911-886E-DED6CCA30677}" dt="2020-11-18T14:50:05.630" v="2920" actId="14100"/>
          <ac:spMkLst>
            <pc:docMk/>
            <pc:sldMk cId="1975790712" sldId="308"/>
            <ac:spMk id="17" creationId="{785E740C-F94A-4208-8DFD-63A603C16577}"/>
          </ac:spMkLst>
        </pc:spChg>
        <pc:spChg chg="add del">
          <ac:chgData name="Meyer Raphael (KOM-PGA-VSF)" userId="79615dfe-ed48-4e74-a40f-4f7b034c1c27" providerId="ADAL" clId="{96D77013-12DF-4911-886E-DED6CCA30677}" dt="2020-11-18T14:47:42.084" v="2855" actId="478"/>
          <ac:spMkLst>
            <pc:docMk/>
            <pc:sldMk cId="1975790712" sldId="308"/>
            <ac:spMk id="21" creationId="{99579156-7477-4472-B45A-CD9D145D7FD8}"/>
          </ac:spMkLst>
        </pc:spChg>
        <pc:spChg chg="mod">
          <ac:chgData name="Meyer Raphael (KOM-PGA-VSF)" userId="79615dfe-ed48-4e74-a40f-4f7b034c1c27" providerId="ADAL" clId="{96D77013-12DF-4911-886E-DED6CCA30677}" dt="2020-11-18T14:50:23.539" v="2922" actId="14100"/>
          <ac:spMkLst>
            <pc:docMk/>
            <pc:sldMk cId="1975790712" sldId="308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18T14:49:37.776" v="2918" actId="20577"/>
          <ac:spMkLst>
            <pc:docMk/>
            <pc:sldMk cId="1975790712" sldId="308"/>
            <ac:spMk id="27" creationId="{46A6B042-39EE-4A58-BBAA-13D52264B660}"/>
          </ac:spMkLst>
        </pc:spChg>
        <pc:spChg chg="add del">
          <ac:chgData name="Meyer Raphael (KOM-PGA-VSF)" userId="79615dfe-ed48-4e74-a40f-4f7b034c1c27" providerId="ADAL" clId="{96D77013-12DF-4911-886E-DED6CCA30677}" dt="2020-11-18T15:14:22.696" v="3183" actId="478"/>
          <ac:spMkLst>
            <pc:docMk/>
            <pc:sldMk cId="1975790712" sldId="308"/>
            <ac:spMk id="33" creationId="{E5EEE4DA-8649-489B-A535-47E830D074F3}"/>
          </ac:spMkLst>
        </pc:spChg>
        <pc:spChg chg="add">
          <ac:chgData name="Meyer Raphael (KOM-PGA-VSF)" userId="79615dfe-ed48-4e74-a40f-4f7b034c1c27" providerId="ADAL" clId="{96D77013-12DF-4911-886E-DED6CCA30677}" dt="2020-11-18T15:12:10.329" v="3122"/>
          <ac:spMkLst>
            <pc:docMk/>
            <pc:sldMk cId="1975790712" sldId="308"/>
            <ac:spMk id="36" creationId="{6F084887-239A-4C4D-A284-528B8CDF3D21}"/>
          </ac:spMkLst>
        </pc:spChg>
        <pc:spChg chg="add">
          <ac:chgData name="Meyer Raphael (KOM-PGA-VSF)" userId="79615dfe-ed48-4e74-a40f-4f7b034c1c27" providerId="ADAL" clId="{96D77013-12DF-4911-886E-DED6CCA30677}" dt="2020-11-18T15:13:37.652" v="3134"/>
          <ac:spMkLst>
            <pc:docMk/>
            <pc:sldMk cId="1975790712" sldId="308"/>
            <ac:spMk id="37" creationId="{8B41BC20-7E0B-4458-8CBF-8EAC2A462A07}"/>
          </ac:spMkLst>
        </pc:spChg>
        <pc:spChg chg="add">
          <ac:chgData name="Meyer Raphael (KOM-PGA-VSF)" userId="79615dfe-ed48-4e74-a40f-4f7b034c1c27" providerId="ADAL" clId="{96D77013-12DF-4911-886E-DED6CCA30677}" dt="2020-11-18T15:14:36.521" v="3185"/>
          <ac:spMkLst>
            <pc:docMk/>
            <pc:sldMk cId="1975790712" sldId="308"/>
            <ac:spMk id="38" creationId="{39113A41-E924-4E07-A7B6-998D5534AEED}"/>
          </ac:spMkLst>
        </pc:spChg>
        <pc:cxnChg chg="mod">
          <ac:chgData name="Meyer Raphael (KOM-PGA-VSF)" userId="79615dfe-ed48-4e74-a40f-4f7b034c1c27" providerId="ADAL" clId="{96D77013-12DF-4911-886E-DED6CCA30677}" dt="2020-11-18T14:48:56.829" v="2910" actId="1035"/>
          <ac:cxnSpMkLst>
            <pc:docMk/>
            <pc:sldMk cId="1975790712" sldId="308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02T10:44:48.819" v="3563" actId="2696"/>
        <pc:sldMkLst>
          <pc:docMk/>
          <pc:sldMk cId="2741828430" sldId="309"/>
        </pc:sldMkLst>
        <pc:spChg chg="mod">
          <ac:chgData name="Meyer Raphael (KOM-PGA-VSF)" userId="79615dfe-ed48-4e74-a40f-4f7b034c1c27" providerId="ADAL" clId="{96D77013-12DF-4911-886E-DED6CCA30677}" dt="2020-11-25T13:49:49.387" v="3327"/>
          <ac:spMkLst>
            <pc:docMk/>
            <pc:sldMk cId="2741828430" sldId="309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1:09.586" v="3337" actId="478"/>
          <ac:spMkLst>
            <pc:docMk/>
            <pc:sldMk cId="2741828430" sldId="309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1-25T13:50:19.986" v="3331" actId="478"/>
          <ac:spMkLst>
            <pc:docMk/>
            <pc:sldMk cId="2741828430" sldId="309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1:11.701" v="3338" actId="478"/>
          <ac:spMkLst>
            <pc:docMk/>
            <pc:sldMk cId="2741828430" sldId="309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0:02.100" v="3328"/>
          <ac:spMkLst>
            <pc:docMk/>
            <pc:sldMk cId="2741828430" sldId="309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0:48.674" v="3333" actId="478"/>
          <ac:spMkLst>
            <pc:docMk/>
            <pc:sldMk cId="2741828430" sldId="309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0:52.610" v="3334" actId="478"/>
          <ac:spMkLst>
            <pc:docMk/>
            <pc:sldMk cId="2741828430" sldId="309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1-25T13:51:38.376" v="3342" actId="20577"/>
          <ac:spMkLst>
            <pc:docMk/>
            <pc:sldMk cId="2741828430" sldId="309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1-25T13:51:41.475" v="3344" actId="20577"/>
          <ac:spMkLst>
            <pc:docMk/>
            <pc:sldMk cId="2741828430" sldId="309"/>
            <ac:spMk id="36" creationId="{A96FB2EB-C301-41E3-B15B-4608A22A373C}"/>
          </ac:spMkLst>
        </pc:spChg>
        <pc:spChg chg="add">
          <ac:chgData name="Meyer Raphael (KOM-PGA-VSF)" userId="79615dfe-ed48-4e74-a40f-4f7b034c1c27" providerId="ADAL" clId="{96D77013-12DF-4911-886E-DED6CCA30677}" dt="2020-11-25T13:50:59.417" v="3335"/>
          <ac:spMkLst>
            <pc:docMk/>
            <pc:sldMk cId="2741828430" sldId="309"/>
            <ac:spMk id="38" creationId="{241F4442-6726-48A4-BEE8-7D910F3FB79E}"/>
          </ac:spMkLst>
        </pc:spChg>
        <pc:spChg chg="add">
          <ac:chgData name="Meyer Raphael (KOM-PGA-VSF)" userId="79615dfe-ed48-4e74-a40f-4f7b034c1c27" providerId="ADAL" clId="{96D77013-12DF-4911-886E-DED6CCA30677}" dt="2020-11-25T13:51:05.899" v="3336"/>
          <ac:spMkLst>
            <pc:docMk/>
            <pc:sldMk cId="2741828430" sldId="309"/>
            <ac:spMk id="39" creationId="{E415B116-C905-46F0-8016-0C05A3A014D5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0" creationId="{29296A36-EDC0-4C73-902A-B697A7B34BE0}"/>
          </ac:spMkLst>
        </pc:spChg>
        <pc:spChg chg="add">
          <ac:chgData name="Meyer Raphael (KOM-PGA-VSF)" userId="79615dfe-ed48-4e74-a40f-4f7b034c1c27" providerId="ADAL" clId="{96D77013-12DF-4911-886E-DED6CCA30677}" dt="2020-11-25T13:51:18.334" v="3339"/>
          <ac:spMkLst>
            <pc:docMk/>
            <pc:sldMk cId="2741828430" sldId="309"/>
            <ac:spMk id="41" creationId="{A3499DA5-248C-476D-B746-FC922512CD4D}"/>
          </ac:spMkLst>
        </pc:spChg>
        <pc:cxnChg chg="del mod">
          <ac:chgData name="Meyer Raphael (KOM-PGA-VSF)" userId="79615dfe-ed48-4e74-a40f-4f7b034c1c27" providerId="ADAL" clId="{96D77013-12DF-4911-886E-DED6CCA30677}" dt="2020-11-25T13:50:19.986" v="3331" actId="478"/>
          <ac:cxnSpMkLst>
            <pc:docMk/>
            <pc:sldMk cId="2741828430" sldId="309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0:27.576" v="3332"/>
          <ac:cxnSpMkLst>
            <pc:docMk/>
            <pc:sldMk cId="2741828430" sldId="309"/>
            <ac:cxnSpMk id="37" creationId="{948518F9-577D-42C1-9238-0034DC1DB758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2T10:50:02.199" v="3656" actId="2696"/>
        <pc:sldMkLst>
          <pc:docMk/>
          <pc:sldMk cId="1385239385" sldId="310"/>
        </pc:sldMkLst>
        <pc:spChg chg="mod">
          <ac:chgData name="Meyer Raphael (KOM-PGA-VSF)" userId="79615dfe-ed48-4e74-a40f-4f7b034c1c27" providerId="ADAL" clId="{96D77013-12DF-4911-886E-DED6CCA30677}" dt="2020-11-25T13:52:37.127" v="3346"/>
          <ac:spMkLst>
            <pc:docMk/>
            <pc:sldMk cId="1385239385" sldId="310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1-25T13:53:15.694" v="3350" actId="478"/>
          <ac:spMkLst>
            <pc:docMk/>
            <pc:sldMk cId="1385239385" sldId="310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1-25T13:52:59.815" v="3348" actId="478"/>
          <ac:spMkLst>
            <pc:docMk/>
            <pc:sldMk cId="1385239385" sldId="310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1-25T13:52:51.299" v="3347"/>
          <ac:spMkLst>
            <pc:docMk/>
            <pc:sldMk cId="1385239385" sldId="310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1-25T13:53:48.821" v="3358" actId="478"/>
          <ac:spMkLst>
            <pc:docMk/>
            <pc:sldMk cId="1385239385" sldId="310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1-25T13:54:17.516" v="3361" actId="478"/>
          <ac:spMkLst>
            <pc:docMk/>
            <pc:sldMk cId="1385239385" sldId="310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1-25T13:53:51.372" v="3359" actId="478"/>
          <ac:spMkLst>
            <pc:docMk/>
            <pc:sldMk cId="1385239385" sldId="310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9:37.600" v="3650" actId="6549"/>
          <ac:spMkLst>
            <pc:docMk/>
            <pc:sldMk cId="1385239385" sldId="310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1-25T13:54:20.058" v="3362" actId="478"/>
          <ac:spMkLst>
            <pc:docMk/>
            <pc:sldMk cId="1385239385" sldId="310"/>
            <ac:spMk id="33" creationId="{18E4FD3A-0462-4CBE-B9ED-76EFB02AE0FB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6" creationId="{7DA1DF1C-8159-4505-BDFF-D45EC7FBC2C3}"/>
          </ac:spMkLst>
        </pc:spChg>
        <pc:spChg chg="add">
          <ac:chgData name="Meyer Raphael (KOM-PGA-VSF)" userId="79615dfe-ed48-4e74-a40f-4f7b034c1c27" providerId="ADAL" clId="{96D77013-12DF-4911-886E-DED6CCA30677}" dt="2020-11-25T13:53:07.387" v="3349"/>
          <ac:spMkLst>
            <pc:docMk/>
            <pc:sldMk cId="1385239385" sldId="310"/>
            <ac:spMk id="37" creationId="{589515B9-A7A2-4FF0-B377-CCD7DFF60257}"/>
          </ac:spMkLst>
        </pc:spChg>
        <pc:spChg chg="add mod">
          <ac:chgData name="Meyer Raphael (KOM-PGA-VSF)" userId="79615dfe-ed48-4e74-a40f-4f7b034c1c27" providerId="ADAL" clId="{96D77013-12DF-4911-886E-DED6CCA30677}" dt="2020-12-02T10:49:39.691" v="3652" actId="6549"/>
          <ac:spMkLst>
            <pc:docMk/>
            <pc:sldMk cId="1385239385" sldId="310"/>
            <ac:spMk id="38" creationId="{96C40311-7EB7-41CE-A9B8-02567E778346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0" creationId="{595B3D45-2978-44F6-BAA6-55091833E629}"/>
          </ac:spMkLst>
        </pc:spChg>
        <pc:spChg chg="add">
          <ac:chgData name="Meyer Raphael (KOM-PGA-VSF)" userId="79615dfe-ed48-4e74-a40f-4f7b034c1c27" providerId="ADAL" clId="{96D77013-12DF-4911-886E-DED6CCA30677}" dt="2020-11-25T13:53:58.071" v="3360"/>
          <ac:spMkLst>
            <pc:docMk/>
            <pc:sldMk cId="1385239385" sldId="310"/>
            <ac:spMk id="41" creationId="{60A5F192-D7C9-4381-8A07-53C57DBBFFF9}"/>
          </ac:spMkLst>
        </pc:spChg>
        <pc:spChg chg="add mod">
          <ac:chgData name="Meyer Raphael (KOM-PGA-VSF)" userId="79615dfe-ed48-4e74-a40f-4f7b034c1c27" providerId="ADAL" clId="{96D77013-12DF-4911-886E-DED6CCA30677}" dt="2020-11-25T13:54:26.264" v="3364" actId="1037"/>
          <ac:spMkLst>
            <pc:docMk/>
            <pc:sldMk cId="1385239385" sldId="310"/>
            <ac:spMk id="42" creationId="{867DACC2-D0FA-449B-A0B9-ACD5901D15E0}"/>
          </ac:spMkLst>
        </pc:spChg>
        <pc:spChg chg="add mod">
          <ac:chgData name="Meyer Raphael (KOM-PGA-VSF)" userId="79615dfe-ed48-4e74-a40f-4f7b034c1c27" providerId="ADAL" clId="{96D77013-12DF-4911-886E-DED6CCA30677}" dt="2020-11-25T13:54:28.723" v="3365" actId="1037"/>
          <ac:spMkLst>
            <pc:docMk/>
            <pc:sldMk cId="1385239385" sldId="310"/>
            <ac:spMk id="43" creationId="{38A9D91F-EF44-4762-BC82-AE228667DBB1}"/>
          </ac:spMkLst>
        </pc:spChg>
        <pc:cxnChg chg="del mod">
          <ac:chgData name="Meyer Raphael (KOM-PGA-VSF)" userId="79615dfe-ed48-4e74-a40f-4f7b034c1c27" providerId="ADAL" clId="{96D77013-12DF-4911-886E-DED6CCA30677}" dt="2020-11-25T13:53:15.694" v="3350" actId="478"/>
          <ac:cxnSpMkLst>
            <pc:docMk/>
            <pc:sldMk cId="1385239385" sldId="310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1-25T13:53:21.541" v="3351"/>
          <ac:cxnSpMkLst>
            <pc:docMk/>
            <pc:sldMk cId="1385239385" sldId="310"/>
            <ac:cxnSpMk id="39" creationId="{2E82DAAA-6968-4AFC-B18C-50CDAEFBA335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6:03.996" v="3888" actId="2696"/>
        <pc:sldMkLst>
          <pc:docMk/>
          <pc:sldMk cId="3398592613" sldId="311"/>
        </pc:sldMkLst>
        <pc:spChg chg="mod">
          <ac:chgData name="Meyer Raphael (KOM-PGA-VSF)" userId="79615dfe-ed48-4e74-a40f-4f7b034c1c27" providerId="ADAL" clId="{96D77013-12DF-4911-886E-DED6CCA30677}" dt="2020-12-02T10:39:39.033" v="3489"/>
          <ac:spMkLst>
            <pc:docMk/>
            <pc:sldMk cId="3398592613" sldId="311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07.286" v="3491" actId="20577"/>
          <ac:spMkLst>
            <pc:docMk/>
            <pc:sldMk cId="3398592613" sldId="311"/>
            <ac:spMk id="4" creationId="{FE424811-9A99-46D3-9443-AAB22DAEAB5A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2T10:39:51.561" v="3490"/>
          <ac:spMkLst>
            <pc:docMk/>
            <pc:sldMk cId="3398592613" sldId="311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2T10:43:50.309" v="3520" actId="478"/>
          <ac:spMkLst>
            <pc:docMk/>
            <pc:sldMk cId="3398592613" sldId="311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0:41.496" v="3494" actId="478"/>
          <ac:spMkLst>
            <pc:docMk/>
            <pc:sldMk cId="3398592613" sldId="311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1:17.743" v="3496"/>
          <ac:spMkLst>
            <pc:docMk/>
            <pc:sldMk cId="3398592613" sldId="311"/>
            <ac:spMk id="27" creationId="{46A6B042-39EE-4A58-BBAA-13D52264B660}"/>
          </ac:spMkLst>
        </pc:spChg>
        <pc:spChg chg="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33" creationId="{18E4FD3A-0462-4CBE-B9ED-76EFB02AE0FB}"/>
          </ac:spMkLst>
        </pc:spChg>
        <pc:spChg chg="add mod">
          <ac:chgData name="Meyer Raphael (KOM-PGA-VSF)" userId="79615dfe-ed48-4e74-a40f-4f7b034c1c27" providerId="ADAL" clId="{96D77013-12DF-4911-886E-DED6CCA30677}" dt="2020-12-02T10:41:27.422" v="3498" actId="20577"/>
          <ac:spMkLst>
            <pc:docMk/>
            <pc:sldMk cId="3398592613" sldId="311"/>
            <ac:spMk id="36" creationId="{9B86410A-3B34-44EA-9927-A5D6A9BFB3C1}"/>
          </ac:spMkLst>
        </pc:spChg>
        <pc:spChg chg="add mod">
          <ac:chgData name="Meyer Raphael (KOM-PGA-VSF)" userId="79615dfe-ed48-4e74-a40f-4f7b034c1c27" providerId="ADAL" clId="{96D77013-12DF-4911-886E-DED6CCA30677}" dt="2020-12-02T10:51:03.315" v="3701" actId="20577"/>
          <ac:spMkLst>
            <pc:docMk/>
            <pc:sldMk cId="3398592613" sldId="311"/>
            <ac:spMk id="37" creationId="{86E8790F-A6D7-4A67-99E8-0D8B2A377AC2}"/>
          </ac:spMkLst>
        </pc:spChg>
        <pc:spChg chg="add mod">
          <ac:chgData name="Meyer Raphael (KOM-PGA-VSF)" userId="79615dfe-ed48-4e74-a40f-4f7b034c1c27" providerId="ADAL" clId="{96D77013-12DF-4911-886E-DED6CCA30677}" dt="2020-12-02T10:50:58.761" v="3699" actId="20577"/>
          <ac:spMkLst>
            <pc:docMk/>
            <pc:sldMk cId="3398592613" sldId="311"/>
            <ac:spMk id="38" creationId="{AD315BA4-CB53-481E-9364-7871857B7B57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39" creationId="{4F76A539-CA48-4221-96AF-2F89AD1E563E}"/>
          </ac:spMkLst>
        </pc:spChg>
        <pc:spChg chg="add">
          <ac:chgData name="Meyer Raphael (KOM-PGA-VSF)" userId="79615dfe-ed48-4e74-a40f-4f7b034c1c27" providerId="ADAL" clId="{96D77013-12DF-4911-886E-DED6CCA30677}" dt="2020-12-02T10:40:57.292" v="3495"/>
          <ac:spMkLst>
            <pc:docMk/>
            <pc:sldMk cId="3398592613" sldId="311"/>
            <ac:spMk id="40" creationId="{A7D69D46-2B5B-4B18-90FA-4A09BB54D1D0}"/>
          </ac:spMkLst>
        </pc:spChg>
        <pc:spChg chg="add mod">
          <ac:chgData name="Meyer Raphael (KOM-PGA-VSF)" userId="79615dfe-ed48-4e74-a40f-4f7b034c1c27" providerId="ADAL" clId="{96D77013-12DF-4911-886E-DED6CCA30677}" dt="2020-12-02T10:44:05.777" v="3559" actId="552"/>
          <ac:spMkLst>
            <pc:docMk/>
            <pc:sldMk cId="3398592613" sldId="311"/>
            <ac:spMk id="41" creationId="{76C7829F-6285-47AF-919E-BC9CF59E2E00}"/>
          </ac:spMkLst>
        </pc:spChg>
        <pc:cxnChg chg="mod">
          <ac:chgData name="Meyer Raphael (KOM-PGA-VSF)" userId="79615dfe-ed48-4e74-a40f-4f7b034c1c27" providerId="ADAL" clId="{96D77013-12DF-4911-886E-DED6CCA30677}" dt="2020-12-02T10:40:41.496" v="3494" actId="478"/>
          <ac:cxnSpMkLst>
            <pc:docMk/>
            <pc:sldMk cId="3398592613" sldId="311"/>
            <ac:cxnSpMk id="20" creationId="{07FCC63F-5E2F-43DF-84ED-5FFEC92A0042}"/>
          </ac:cxnSpMkLst>
        </pc:cxnChg>
      </pc:sldChg>
      <pc:sldChg chg="addSp delSp modSp add del">
        <pc:chgData name="Meyer Raphael (KOM-PGA-VSF)" userId="79615dfe-ed48-4e74-a40f-4f7b034c1c27" providerId="ADAL" clId="{96D77013-12DF-4911-886E-DED6CCA30677}" dt="2020-12-09T12:19:16.108" v="3923" actId="2696"/>
        <pc:sldMkLst>
          <pc:docMk/>
          <pc:sldMk cId="2874421344" sldId="312"/>
        </pc:sldMkLst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" creationId="{A2DC317F-F1F4-4624-8FC1-3B68C1DBB3DA}"/>
          </ac:spMkLst>
        </pc:spChg>
        <pc:spChg chg="mod">
          <ac:chgData name="Meyer Raphael (KOM-PGA-VSF)" userId="79615dfe-ed48-4e74-a40f-4f7b034c1c27" providerId="ADAL" clId="{96D77013-12DF-4911-886E-DED6CCA30677}" dt="2020-12-02T10:40:18.396" v="3493" actId="20577"/>
          <ac:spMkLst>
            <pc:docMk/>
            <pc:sldMk cId="2874421344" sldId="312"/>
            <ac:spMk id="4" creationId="{FE424811-9A99-46D3-9443-AAB22DAEAB5A}"/>
          </ac:spMkLst>
        </pc:spChg>
        <pc:spChg chg="add del mod">
          <ac:chgData name="Meyer Raphael (KOM-PGA-VSF)" userId="79615dfe-ed48-4e74-a40f-4f7b034c1c27" providerId="ADAL" clId="{96D77013-12DF-4911-886E-DED6CCA30677}" dt="2020-12-02T10:46:24.190" v="3575" actId="478"/>
          <ac:spMkLst>
            <pc:docMk/>
            <pc:sldMk cId="2874421344" sldId="312"/>
            <ac:spMk id="6" creationId="{FA4603BD-6EA2-49CA-A0E1-3AC5EEEE71A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9" creationId="{B6990B61-32B2-4ADC-BF01-EDF7B4080F97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17" creationId="{785E740C-F94A-4208-8DFD-63A603C16577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21" creationId="{EC5D28F0-DE30-4BF9-9229-A24B6644F176}"/>
          </ac:spMkLst>
        </pc:spChg>
        <pc:spChg chg="del">
          <ac:chgData name="Meyer Raphael (KOM-PGA-VSF)" userId="79615dfe-ed48-4e74-a40f-4f7b034c1c27" providerId="ADAL" clId="{96D77013-12DF-4911-886E-DED6CCA30677}" dt="2020-12-02T10:45:03.999" v="3564" actId="478"/>
          <ac:spMkLst>
            <pc:docMk/>
            <pc:sldMk cId="2874421344" sldId="312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2T10:45:56.747" v="3571" actId="14100"/>
          <ac:spMkLst>
            <pc:docMk/>
            <pc:sldMk cId="2874421344" sldId="312"/>
            <ac:spMk id="27" creationId="{46A6B042-39EE-4A58-BBAA-13D52264B660}"/>
          </ac:spMkLst>
        </pc:spChg>
        <pc:spChg chg="del mod">
          <ac:chgData name="Meyer Raphael (KOM-PGA-VSF)" userId="79615dfe-ed48-4e74-a40f-4f7b034c1c27" providerId="ADAL" clId="{96D77013-12DF-4911-886E-DED6CCA30677}" dt="2020-12-02T10:47:57.512" v="3591" actId="478"/>
          <ac:spMkLst>
            <pc:docMk/>
            <pc:sldMk cId="2874421344" sldId="312"/>
            <ac:spMk id="33" creationId="{18E4FD3A-0462-4CBE-B9ED-76EFB02AE0FB}"/>
          </ac:spMkLst>
        </pc:spChg>
        <pc:spChg chg="add del">
          <ac:chgData name="Meyer Raphael (KOM-PGA-VSF)" userId="79615dfe-ed48-4e74-a40f-4f7b034c1c27" providerId="ADAL" clId="{96D77013-12DF-4911-886E-DED6CCA30677}" dt="2020-12-02T10:46:21.113" v="3574" actId="478"/>
          <ac:spMkLst>
            <pc:docMk/>
            <pc:sldMk cId="2874421344" sldId="312"/>
            <ac:spMk id="36" creationId="{7147D615-B09E-46F5-B8F8-A70F83A6E7C4}"/>
          </ac:spMkLst>
        </pc:spChg>
        <pc:spChg chg="add">
          <ac:chgData name="Meyer Raphael (KOM-PGA-VSF)" userId="79615dfe-ed48-4e74-a40f-4f7b034c1c27" providerId="ADAL" clId="{96D77013-12DF-4911-886E-DED6CCA30677}" dt="2020-12-02T10:45:17.518" v="3565"/>
          <ac:spMkLst>
            <pc:docMk/>
            <pc:sldMk cId="2874421344" sldId="312"/>
            <ac:spMk id="37" creationId="{FC963CB8-3BFC-46CD-BB40-79526C3429E6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8" creationId="{100AE228-7811-43BF-BB60-68C1F32CC4FA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39" creationId="{1FC7AFF1-4B3B-4501-9A04-87DAC5E18CA0}"/>
          </ac:spMkLst>
        </pc:spChg>
        <pc:spChg chg="add mod">
          <ac:chgData name="Meyer Raphael (KOM-PGA-VSF)" userId="79615dfe-ed48-4e74-a40f-4f7b034c1c27" providerId="ADAL" clId="{96D77013-12DF-4911-886E-DED6CCA30677}" dt="2020-12-02T10:46:01.584" v="3573" actId="20577"/>
          <ac:spMkLst>
            <pc:docMk/>
            <pc:sldMk cId="2874421344" sldId="312"/>
            <ac:spMk id="40" creationId="{F087FBA5-DF8F-4EF9-86E5-4818E85C9C6B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1" creationId="{8EF703AA-1164-491E-A67A-4CA5CE8918B8}"/>
          </ac:spMkLst>
        </pc:spChg>
        <pc:spChg chg="add mod">
          <ac:chgData name="Meyer Raphael (KOM-PGA-VSF)" userId="79615dfe-ed48-4e74-a40f-4f7b034c1c27" providerId="ADAL" clId="{96D77013-12DF-4911-886E-DED6CCA30677}" dt="2020-12-09T12:17:11.002" v="3905" actId="1076"/>
          <ac:spMkLst>
            <pc:docMk/>
            <pc:sldMk cId="2874421344" sldId="312"/>
            <ac:spMk id="42" creationId="{627A35E5-5BD3-492B-8880-29B634808377}"/>
          </ac:spMkLst>
        </pc:spChg>
        <pc:spChg chg="add">
          <ac:chgData name="Meyer Raphael (KOM-PGA-VSF)" userId="79615dfe-ed48-4e74-a40f-4f7b034c1c27" providerId="ADAL" clId="{96D77013-12DF-4911-886E-DED6CCA30677}" dt="2020-12-02T10:46:30.383" v="3576"/>
          <ac:spMkLst>
            <pc:docMk/>
            <pc:sldMk cId="2874421344" sldId="312"/>
            <ac:spMk id="43" creationId="{DA4FBA78-3F31-483D-8EA5-4328BE836B0F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4" creationId="{B77AEC99-7053-41DB-9D66-11198B81AAA5}"/>
          </ac:spMkLst>
        </pc:spChg>
        <pc:spChg chg="add del">
          <ac:chgData name="Meyer Raphael (KOM-PGA-VSF)" userId="79615dfe-ed48-4e74-a40f-4f7b034c1c27" providerId="ADAL" clId="{96D77013-12DF-4911-886E-DED6CCA30677}" dt="2020-12-02T10:48:58.688" v="3608" actId="478"/>
          <ac:spMkLst>
            <pc:docMk/>
            <pc:sldMk cId="2874421344" sldId="312"/>
            <ac:spMk id="45" creationId="{59740038-C636-4053-A09E-DC061EF373E0}"/>
          </ac:spMkLst>
        </pc:spChg>
        <pc:spChg chg="add del mod">
          <ac:chgData name="Meyer Raphael (KOM-PGA-VSF)" userId="79615dfe-ed48-4e74-a40f-4f7b034c1c27" providerId="ADAL" clId="{96D77013-12DF-4911-886E-DED6CCA30677}" dt="2020-12-02T10:50:15.024" v="3658" actId="478"/>
          <ac:spMkLst>
            <pc:docMk/>
            <pc:sldMk cId="2874421344" sldId="312"/>
            <ac:spMk id="46" creationId="{832CAC1C-0470-4C89-9EB0-F4B629A40FB7}"/>
          </ac:spMkLst>
        </pc:spChg>
        <pc:spChg chg="add mod">
          <ac:chgData name="Meyer Raphael (KOM-PGA-VSF)" userId="79615dfe-ed48-4e74-a40f-4f7b034c1c27" providerId="ADAL" clId="{96D77013-12DF-4911-886E-DED6CCA30677}" dt="2020-12-02T10:50:26.306" v="3693" actId="552"/>
          <ac:spMkLst>
            <pc:docMk/>
            <pc:sldMk cId="2874421344" sldId="312"/>
            <ac:spMk id="47" creationId="{78DD18C4-1C75-4D14-AC11-6E52855FF369}"/>
          </ac:spMkLst>
        </pc:spChg>
        <pc:cxnChg chg="mod">
          <ac:chgData name="Meyer Raphael (KOM-PGA-VSF)" userId="79615dfe-ed48-4e74-a40f-4f7b034c1c27" providerId="ADAL" clId="{96D77013-12DF-4911-886E-DED6CCA30677}" dt="2020-12-02T10:45:03.999" v="3564" actId="478"/>
          <ac:cxnSpMkLst>
            <pc:docMk/>
            <pc:sldMk cId="2874421344" sldId="312"/>
            <ac:cxnSpMk id="20" creationId="{07FCC63F-5E2F-43DF-84ED-5FFEC92A0042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7:07.978" v="4004" actId="2696"/>
        <pc:sldMkLst>
          <pc:docMk/>
          <pc:sldMk cId="1627822697" sldId="313"/>
        </pc:sldMkLst>
        <pc:spChg chg="mod">
          <ac:chgData name="Meyer Raphael (KOM-PGA-VSF)" userId="79615dfe-ed48-4e74-a40f-4f7b034c1c27" providerId="ADAL" clId="{96D77013-12DF-4911-886E-DED6CCA30677}" dt="2020-12-09T12:13:57.965" v="3870"/>
          <ac:spMkLst>
            <pc:docMk/>
            <pc:sldMk cId="1627822697" sldId="313"/>
            <ac:spMk id="2" creationId="{A2DC317F-F1F4-4624-8FC1-3B68C1DBB3DA}"/>
          </ac:spMkLst>
        </pc:spChg>
        <pc:spChg chg="add del">
          <ac:chgData name="Meyer Raphael (KOM-PGA-VSF)" userId="79615dfe-ed48-4e74-a40f-4f7b034c1c27" providerId="ADAL" clId="{96D77013-12DF-4911-886E-DED6CCA30677}" dt="2020-12-09T12:14:59.597" v="3878"/>
          <ac:spMkLst>
            <pc:docMk/>
            <pc:sldMk cId="1627822697" sldId="313"/>
            <ac:spMk id="3" creationId="{A0E95A08-44B8-4C1C-A3DC-9EBD21742533}"/>
          </ac:spMkLst>
        </pc:spChg>
        <pc:spChg chg="del">
          <ac:chgData name="Meyer Raphael (KOM-PGA-VSF)" userId="79615dfe-ed48-4e74-a40f-4f7b034c1c27" providerId="ADAL" clId="{96D77013-12DF-4911-886E-DED6CCA30677}" dt="2020-12-09T12:14:25.336" v="3872" actId="478"/>
          <ac:spMkLst>
            <pc:docMk/>
            <pc:sldMk cId="1627822697" sldId="313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09T12:14:36.673" v="3876" actId="478"/>
          <ac:spMkLst>
            <pc:docMk/>
            <pc:sldMk cId="1627822697" sldId="313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4:27.824" v="3873" actId="478"/>
          <ac:spMkLst>
            <pc:docMk/>
            <pc:sldMk cId="1627822697" sldId="313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4:07.435" v="3871"/>
          <ac:spMkLst>
            <pc:docMk/>
            <pc:sldMk cId="1627822697" sldId="313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4:33.963" v="3875" actId="478"/>
          <ac:spMkLst>
            <pc:docMk/>
            <pc:sldMk cId="1627822697" sldId="313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4:31.009" v="3874" actId="478"/>
          <ac:spMkLst>
            <pc:docMk/>
            <pc:sldMk cId="1627822697" sldId="313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5:31.950" v="3882"/>
          <ac:spMkLst>
            <pc:docMk/>
            <pc:sldMk cId="1627822697" sldId="313"/>
            <ac:spMk id="27" creationId="{46A6B042-39EE-4A58-BBAA-13D52264B660}"/>
          </ac:spMkLst>
        </pc:spChg>
        <pc:spChg chg="add mod">
          <ac:chgData name="Meyer Raphael (KOM-PGA-VSF)" userId="79615dfe-ed48-4e74-a40f-4f7b034c1c27" providerId="ADAL" clId="{96D77013-12DF-4911-886E-DED6CCA30677}" dt="2020-12-09T12:15:16.004" v="3881" actId="20577"/>
          <ac:spMkLst>
            <pc:docMk/>
            <pc:sldMk cId="1627822697" sldId="313"/>
            <ac:spMk id="36" creationId="{0E043FF4-C8C2-481B-B235-442BA7C6AD9B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8" creationId="{48ACDD2C-6F1D-40EF-9B12-C188963437A1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39" creationId="{A58E27FA-8C44-406A-9262-DCAF643E5CDD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0" creationId="{1ACDFCF4-2487-4B98-8184-C6F3BFA664A5}"/>
          </ac:spMkLst>
        </pc:spChg>
        <pc:spChg chg="add">
          <ac:chgData name="Meyer Raphael (KOM-PGA-VSF)" userId="79615dfe-ed48-4e74-a40f-4f7b034c1c27" providerId="ADAL" clId="{96D77013-12DF-4911-886E-DED6CCA30677}" dt="2020-12-09T12:15:11.312" v="3879"/>
          <ac:spMkLst>
            <pc:docMk/>
            <pc:sldMk cId="1627822697" sldId="313"/>
            <ac:spMk id="41" creationId="{5D75E1CB-CD6F-41D8-AE1F-87FA9F18205C}"/>
          </ac:spMkLst>
        </pc:spChg>
        <pc:cxnChg chg="mod">
          <ac:chgData name="Meyer Raphael (KOM-PGA-VSF)" userId="79615dfe-ed48-4e74-a40f-4f7b034c1c27" providerId="ADAL" clId="{96D77013-12DF-4911-886E-DED6CCA30677}" dt="2020-12-09T12:14:36.673" v="3876" actId="478"/>
          <ac:cxnSpMkLst>
            <pc:docMk/>
            <pc:sldMk cId="1627822697" sldId="313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11.199" v="3895" actId="1037"/>
          <ac:cxnSpMkLst>
            <pc:docMk/>
            <pc:sldMk cId="1627822697" sldId="313"/>
            <ac:cxnSpMk id="30" creationId="{1D702FCA-793F-404B-84D5-F14C318BFFB3}"/>
          </ac:cxnSpMkLst>
        </pc:cxnChg>
      </pc:sldChg>
      <pc:sldChg chg="addSp delSp modSp add del ord">
        <pc:chgData name="Meyer Raphael (KOM-PGA-VSF)" userId="79615dfe-ed48-4e74-a40f-4f7b034c1c27" providerId="ADAL" clId="{96D77013-12DF-4911-886E-DED6CCA30677}" dt="2020-12-16T10:38:55.297" v="4018" actId="2696"/>
        <pc:sldMkLst>
          <pc:docMk/>
          <pc:sldMk cId="1400085580" sldId="314"/>
        </pc:sldMkLst>
        <pc:spChg chg="mod">
          <ac:chgData name="Meyer Raphael (KOM-PGA-VSF)" userId="79615dfe-ed48-4e74-a40f-4f7b034c1c27" providerId="ADAL" clId="{96D77013-12DF-4911-886E-DED6CCA30677}" dt="2020-12-09T12:16:30.539" v="3901"/>
          <ac:spMkLst>
            <pc:docMk/>
            <pc:sldMk cId="1400085580" sldId="314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09T12:18:14.097" v="3915" actId="478"/>
          <ac:spMkLst>
            <pc:docMk/>
            <pc:sldMk cId="1400085580" sldId="314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09T12:16:39.270" v="3902"/>
          <ac:spMkLst>
            <pc:docMk/>
            <pc:sldMk cId="1400085580" sldId="314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09T12:16:59.535" v="3903" actId="478"/>
          <ac:spMkLst>
            <pc:docMk/>
            <pc:sldMk cId="1400085580" sldId="314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09T12:18:56.630" v="3922" actId="14100"/>
          <ac:spMkLst>
            <pc:docMk/>
            <pc:sldMk cId="1400085580" sldId="314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6" creationId="{77EF0EBC-5E63-4D8F-A51F-7418944B84D1}"/>
          </ac:spMkLst>
        </pc:spChg>
        <pc:spChg chg="del">
          <ac:chgData name="Meyer Raphael (KOM-PGA-VSF)" userId="79615dfe-ed48-4e74-a40f-4f7b034c1c27" providerId="ADAL" clId="{96D77013-12DF-4911-886E-DED6CCA30677}" dt="2020-12-09T12:17:26.591" v="3907" actId="478"/>
          <ac:spMkLst>
            <pc:docMk/>
            <pc:sldMk cId="1400085580" sldId="314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8" creationId="{98CC3272-9A08-4A49-892B-DFCC8D37F01A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39" creationId="{271B2F03-6D9F-4D45-A90F-2AB75E32CC02}"/>
          </ac:spMkLst>
        </pc:spChg>
        <pc:spChg chg="add">
          <ac:chgData name="Meyer Raphael (KOM-PGA-VSF)" userId="79615dfe-ed48-4e74-a40f-4f7b034c1c27" providerId="ADAL" clId="{96D77013-12DF-4911-886E-DED6CCA30677}" dt="2020-12-09T12:17:17.049" v="3906"/>
          <ac:spMkLst>
            <pc:docMk/>
            <pc:sldMk cId="1400085580" sldId="314"/>
            <ac:spMk id="40" creationId="{68C34AD2-4FDE-4E6F-A51B-79ECB934489F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1" creationId="{75A59D42-1C71-4F30-8F29-EDA666AECD3A}"/>
          </ac:spMkLst>
        </pc:spChg>
        <pc:spChg chg="add mod">
          <ac:chgData name="Meyer Raphael (KOM-PGA-VSF)" userId="79615dfe-ed48-4e74-a40f-4f7b034c1c27" providerId="ADAL" clId="{96D77013-12DF-4911-886E-DED6CCA30677}" dt="2020-12-09T12:17:39.233" v="3909" actId="1037"/>
          <ac:spMkLst>
            <pc:docMk/>
            <pc:sldMk cId="1400085580" sldId="314"/>
            <ac:spMk id="42" creationId="{4DC1F278-AE59-4E46-A9B8-EB5E9E322CAC}"/>
          </ac:spMkLst>
        </pc:spChg>
        <pc:spChg chg="add mod">
          <ac:chgData name="Meyer Raphael (KOM-PGA-VSF)" userId="79615dfe-ed48-4e74-a40f-4f7b034c1c27" providerId="ADAL" clId="{96D77013-12DF-4911-886E-DED6CCA30677}" dt="2020-12-09T12:18:37.761" v="3919" actId="20577"/>
          <ac:spMkLst>
            <pc:docMk/>
            <pc:sldMk cId="1400085580" sldId="314"/>
            <ac:spMk id="44" creationId="{8329B916-7DDA-4097-B9A0-217743AFAB65}"/>
          </ac:spMkLst>
        </pc:spChg>
        <pc:cxnChg chg="del mod">
          <ac:chgData name="Meyer Raphael (KOM-PGA-VSF)" userId="79615dfe-ed48-4e74-a40f-4f7b034c1c27" providerId="ADAL" clId="{96D77013-12DF-4911-886E-DED6CCA30677}" dt="2020-12-09T12:18:23.937" v="3916" actId="478"/>
          <ac:cxnSpMkLst>
            <pc:docMk/>
            <pc:sldMk cId="1400085580" sldId="314"/>
            <ac:cxnSpMk id="20" creationId="{07FCC63F-5E2F-43DF-84ED-5FFEC92A0042}"/>
          </ac:cxnSpMkLst>
        </pc:cxnChg>
        <pc:cxnChg chg="mod">
          <ac:chgData name="Meyer Raphael (KOM-PGA-VSF)" userId="79615dfe-ed48-4e74-a40f-4f7b034c1c27" providerId="ADAL" clId="{96D77013-12DF-4911-886E-DED6CCA30677}" dt="2020-12-09T12:16:23.171" v="3900" actId="1035"/>
          <ac:cxnSpMkLst>
            <pc:docMk/>
            <pc:sldMk cId="1400085580" sldId="314"/>
            <ac:cxnSpMk id="30" creationId="{1D702FCA-793F-404B-84D5-F14C318BFFB3}"/>
          </ac:cxnSpMkLst>
        </pc:cxnChg>
        <pc:cxnChg chg="add">
          <ac:chgData name="Meyer Raphael (KOM-PGA-VSF)" userId="79615dfe-ed48-4e74-a40f-4f7b034c1c27" providerId="ADAL" clId="{96D77013-12DF-4911-886E-DED6CCA30677}" dt="2020-12-09T12:18:34.632" v="3917"/>
          <ac:cxnSpMkLst>
            <pc:docMk/>
            <pc:sldMk cId="1400085580" sldId="314"/>
            <ac:cxnSpMk id="43" creationId="{E4068DFE-A9E3-4D7D-95FF-29F929489F94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6:27.688" v="4003"/>
        <pc:sldMkLst>
          <pc:docMk/>
          <pc:sldMk cId="2802950074" sldId="315"/>
        </pc:sldMkLst>
        <pc:spChg chg="mod">
          <ac:chgData name="Meyer Raphael (KOM-PGA-VSF)" userId="79615dfe-ed48-4e74-a40f-4f7b034c1c27" providerId="ADAL" clId="{96D77013-12DF-4911-886E-DED6CCA30677}" dt="2020-12-16T10:35:04.306" v="3989"/>
          <ac:spMkLst>
            <pc:docMk/>
            <pc:sldMk cId="2802950074" sldId="315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7" creationId="{BA3F9A72-0541-4D1F-8CD8-1C2B8074FA1B}"/>
          </ac:spMkLst>
        </pc:spChg>
        <pc:spChg chg="del mod">
          <ac:chgData name="Meyer Raphael (KOM-PGA-VSF)" userId="79615dfe-ed48-4e74-a40f-4f7b034c1c27" providerId="ADAL" clId="{96D77013-12DF-4911-886E-DED6CCA30677}" dt="2020-12-16T10:35:48.789" v="3997" actId="478"/>
          <ac:spMkLst>
            <pc:docMk/>
            <pc:sldMk cId="2802950074" sldId="315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5:11.612" v="3990"/>
          <ac:spMkLst>
            <pc:docMk/>
            <pc:sldMk cId="2802950074" sldId="315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5:19.274" v="3991" actId="478"/>
          <ac:spMkLst>
            <pc:docMk/>
            <pc:sldMk cId="2802950074" sldId="315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6:27.688" v="4003"/>
          <ac:spMkLst>
            <pc:docMk/>
            <pc:sldMk cId="2802950074" sldId="315"/>
            <ac:spMk id="27" creationId="{46A6B042-39EE-4A58-BBAA-13D52264B660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6" creationId="{D1ECA163-3028-4B34-8370-E5BF606C303D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8" creationId="{B76B9B6A-1189-4216-8860-3FB334B075CB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39" creationId="{710A1E67-CE78-4A34-B851-697CC5360C65}"/>
          </ac:spMkLst>
        </pc:spChg>
        <pc:spChg chg="add">
          <ac:chgData name="Meyer Raphael (KOM-PGA-VSF)" userId="79615dfe-ed48-4e74-a40f-4f7b034c1c27" providerId="ADAL" clId="{96D77013-12DF-4911-886E-DED6CCA30677}" dt="2020-12-16T10:35:29.643" v="3992"/>
          <ac:spMkLst>
            <pc:docMk/>
            <pc:sldMk cId="2802950074" sldId="315"/>
            <ac:spMk id="40" creationId="{309971CC-F792-43B7-A024-CFBE4DE50BFB}"/>
          </ac:spMkLst>
        </pc:spChg>
        <pc:spChg chg="add mod">
          <ac:chgData name="Meyer Raphael (KOM-PGA-VSF)" userId="79615dfe-ed48-4e74-a40f-4f7b034c1c27" providerId="ADAL" clId="{96D77013-12DF-4911-886E-DED6CCA30677}" dt="2020-12-16T10:35:58.792" v="4002" actId="20577"/>
          <ac:spMkLst>
            <pc:docMk/>
            <pc:sldMk cId="2802950074" sldId="315"/>
            <ac:spMk id="42" creationId="{A033A810-BFFD-406C-88F8-2749262D34FE}"/>
          </ac:spMkLst>
        </pc:spChg>
        <pc:cxnChg chg="del mod">
          <ac:chgData name="Meyer Raphael (KOM-PGA-VSF)" userId="79615dfe-ed48-4e74-a40f-4f7b034c1c27" providerId="ADAL" clId="{96D77013-12DF-4911-886E-DED6CCA30677}" dt="2020-12-16T10:35:48.789" v="3997" actId="478"/>
          <ac:cxnSpMkLst>
            <pc:docMk/>
            <pc:sldMk cId="2802950074" sldId="315"/>
            <ac:cxnSpMk id="20" creationId="{07FCC63F-5E2F-43DF-84ED-5FFEC92A0042}"/>
          </ac:cxnSpMkLst>
        </pc:cxnChg>
        <pc:cxnChg chg="add">
          <ac:chgData name="Meyer Raphael (KOM-PGA-VSF)" userId="79615dfe-ed48-4e74-a40f-4f7b034c1c27" providerId="ADAL" clId="{96D77013-12DF-4911-886E-DED6CCA30677}" dt="2020-12-16T10:35:54.417" v="3998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addSp delSp modSp add">
        <pc:chgData name="Meyer Raphael (KOM-PGA-VSF)" userId="79615dfe-ed48-4e74-a40f-4f7b034c1c27" providerId="ADAL" clId="{96D77013-12DF-4911-886E-DED6CCA30677}" dt="2020-12-16T10:38:38.975" v="4017"/>
        <pc:sldMkLst>
          <pc:docMk/>
          <pc:sldMk cId="3685268070" sldId="316"/>
        </pc:sldMkLst>
        <pc:spChg chg="mod">
          <ac:chgData name="Meyer Raphael (KOM-PGA-VSF)" userId="79615dfe-ed48-4e74-a40f-4f7b034c1c27" providerId="ADAL" clId="{96D77013-12DF-4911-886E-DED6CCA30677}" dt="2020-12-16T10:37:16.308" v="4005"/>
          <ac:spMkLst>
            <pc:docMk/>
            <pc:sldMk cId="3685268070" sldId="316"/>
            <ac:spMk id="2" creationId="{A2DC317F-F1F4-4624-8FC1-3B68C1DBB3DA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7" creationId="{BA3F9A72-0541-4D1F-8CD8-1C2B8074FA1B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8" creationId="{5857C2A1-2CB8-4D4A-AEFD-E809BF73D04F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9" creationId="{B6990B61-32B2-4ADC-BF01-EDF7B4080F97}"/>
          </ac:spMkLst>
        </pc:spChg>
        <pc:spChg chg="mod">
          <ac:chgData name="Meyer Raphael (KOM-PGA-VSF)" userId="79615dfe-ed48-4e74-a40f-4f7b034c1c27" providerId="ADAL" clId="{96D77013-12DF-4911-886E-DED6CCA30677}" dt="2020-12-16T10:37:23.470" v="4006"/>
          <ac:spMkLst>
            <pc:docMk/>
            <pc:sldMk cId="3685268070" sldId="316"/>
            <ac:spMk id="10" creationId="{077DFD58-E5EE-4B68-9325-D935DB04DD40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17" creationId="{785E740C-F94A-4208-8DFD-63A603C16577}"/>
          </ac:spMkLst>
        </pc:spChg>
        <pc:spChg chg="del">
          <ac:chgData name="Meyer Raphael (KOM-PGA-VSF)" userId="79615dfe-ed48-4e74-a40f-4f7b034c1c27" providerId="ADAL" clId="{96D77013-12DF-4911-886E-DED6CCA30677}" dt="2020-12-16T10:37:45.143" v="4007" actId="478"/>
          <ac:spMkLst>
            <pc:docMk/>
            <pc:sldMk cId="3685268070" sldId="316"/>
            <ac:spMk id="26" creationId="{BFD498B5-D73E-4C8A-9FAF-B3547647538C}"/>
          </ac:spMkLst>
        </pc:spChg>
        <pc:spChg chg="mod">
          <ac:chgData name="Meyer Raphael (KOM-PGA-VSF)" userId="79615dfe-ed48-4e74-a40f-4f7b034c1c27" providerId="ADAL" clId="{96D77013-12DF-4911-886E-DED6CCA30677}" dt="2020-12-16T10:38:21.528" v="4015" actId="14100"/>
          <ac:spMkLst>
            <pc:docMk/>
            <pc:sldMk cId="3685268070" sldId="316"/>
            <ac:spMk id="27" creationId="{46A6B042-39EE-4A58-BBAA-13D52264B660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3" creationId="{A80F7DEC-022D-4493-8CDE-E61BC06E6C4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6" creationId="{7D90DEEA-F6D4-41F5-A9E1-CDEB18E8EDC7}"/>
          </ac:spMkLst>
        </pc:spChg>
        <pc:spChg chg="del">
          <ac:chgData name="Meyer Raphael (KOM-PGA-VSF)" userId="79615dfe-ed48-4e74-a40f-4f7b034c1c27" providerId="ADAL" clId="{96D77013-12DF-4911-886E-DED6CCA30677}" dt="2020-12-16T10:38:31.044" v="4016" actId="478"/>
          <ac:spMkLst>
            <pc:docMk/>
            <pc:sldMk cId="3685268070" sldId="316"/>
            <ac:spMk id="37" creationId="{16628D91-C37D-41C8-A84A-DDEB3E2C1246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8" creationId="{BF30C599-8178-4CC0-B638-8823F727CB83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39" creationId="{365230FE-8828-4775-853A-DF6C4E5F1897}"/>
          </ac:spMkLst>
        </pc:spChg>
        <pc:spChg chg="add">
          <ac:chgData name="Meyer Raphael (KOM-PGA-VSF)" userId="79615dfe-ed48-4e74-a40f-4f7b034c1c27" providerId="ADAL" clId="{96D77013-12DF-4911-886E-DED6CCA30677}" dt="2020-12-16T10:37:56.634" v="4008"/>
          <ac:spMkLst>
            <pc:docMk/>
            <pc:sldMk cId="3685268070" sldId="316"/>
            <ac:spMk id="40" creationId="{62BE60E6-816B-489B-BE9A-F4CD04D64B5C}"/>
          </ac:spMkLst>
        </pc:spChg>
        <pc:spChg chg="add mod">
          <ac:chgData name="Meyer Raphael (KOM-PGA-VSF)" userId="79615dfe-ed48-4e74-a40f-4f7b034c1c27" providerId="ADAL" clId="{96D77013-12DF-4911-886E-DED6CCA30677}" dt="2020-12-16T10:38:06.982" v="4013" actId="20577"/>
          <ac:spMkLst>
            <pc:docMk/>
            <pc:sldMk cId="3685268070" sldId="316"/>
            <ac:spMk id="41" creationId="{DD1D7DED-B5E6-4EA2-9113-4A179D74E57F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2" creationId="{45D2AD9C-FD02-46F0-8A24-212A623BF6AE}"/>
          </ac:spMkLst>
        </pc:spChg>
        <pc:spChg chg="add">
          <ac:chgData name="Meyer Raphael (KOM-PGA-VSF)" userId="79615dfe-ed48-4e74-a40f-4f7b034c1c27" providerId="ADAL" clId="{96D77013-12DF-4911-886E-DED6CCA30677}" dt="2020-12-16T10:38:38.975" v="4017"/>
          <ac:spMkLst>
            <pc:docMk/>
            <pc:sldMk cId="3685268070" sldId="316"/>
            <ac:spMk id="43" creationId="{CF9BADE2-CECA-430A-BEBC-81B9FB4ED3CE}"/>
          </ac:spMkLst>
        </pc:spChg>
        <pc:cxnChg chg="mod">
          <ac:chgData name="Meyer Raphael (KOM-PGA-VSF)" userId="79615dfe-ed48-4e74-a40f-4f7b034c1c27" providerId="ADAL" clId="{96D77013-12DF-4911-886E-DED6CCA30677}" dt="2020-12-16T10:37:45.143" v="4007" actId="478"/>
          <ac:cxnSpMkLst>
            <pc:docMk/>
            <pc:sldMk cId="3685268070" sldId="316"/>
            <ac:cxnSpMk id="20" creationId="{07FCC63F-5E2F-43DF-84ED-5FFEC92A0042}"/>
          </ac:cxnSpMkLst>
        </pc:cxnChg>
      </pc:sldChg>
      <pc:sldMasterChg chg="addSp modSp">
        <pc:chgData name="Meyer Raphael (KOM-PGA-VSF)" userId="79615dfe-ed48-4e74-a40f-4f7b034c1c27" providerId="ADAL" clId="{96D77013-12DF-4911-886E-DED6CCA30677}" dt="2020-11-17T07:41:59.303" v="941"/>
        <pc:sldMasterMkLst>
          <pc:docMk/>
          <pc:sldMasterMk cId="3307758698" sldId="2147483660"/>
        </pc:sldMasterMkLst>
        <pc:spChg chg="add mod ord modVis">
          <ac:chgData name="Meyer Raphael (KOM-PGA-VSF)" userId="79615dfe-ed48-4e74-a40f-4f7b034c1c27" providerId="ADAL" clId="{96D77013-12DF-4911-886E-DED6CCA30677}" dt="2020-11-17T07:41:59.303" v="941"/>
          <ac:spMkLst>
            <pc:docMk/>
            <pc:sldMasterMk cId="3307758698" sldId="2147483660"/>
            <ac:spMk id="7" creationId="{1E4D2D91-D134-4644-9D78-F6F8D7DE1E45}"/>
          </ac:spMkLst>
        </pc:spChg>
      </pc:sldMasterChg>
    </pc:docChg>
  </pc:docChgLst>
  <pc:docChgLst>
    <pc:chgData name="Meyer Raphael (PAR-ES)" userId="79615dfe-ed48-4e74-a40f-4f7b034c1c27" providerId="ADAL" clId="{82637165-BD6C-463E-9368-D87AAFC267FD}"/>
    <pc:docChg chg="undo custSel addSld delSld modSld sldOrd">
      <pc:chgData name="Meyer Raphael (PAR-ES)" userId="79615dfe-ed48-4e74-a40f-4f7b034c1c27" providerId="ADAL" clId="{82637165-BD6C-463E-9368-D87AAFC267FD}" dt="2021-05-07T08:27:30.560" v="98" actId="2696"/>
      <pc:docMkLst>
        <pc:docMk/>
      </pc:docMkLst>
      <pc:sldChg chg="modSp mod">
        <pc:chgData name="Meyer Raphael (PAR-ES)" userId="79615dfe-ed48-4e74-a40f-4f7b034c1c27" providerId="ADAL" clId="{82637165-BD6C-463E-9368-D87AAFC267FD}" dt="2021-05-07T08:24:10.739" v="73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82637165-BD6C-463E-9368-D87AAFC267FD}" dt="2021-05-07T08:23:19.347" v="5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82637165-BD6C-463E-9368-D87AAFC267FD}" dt="2021-05-07T08:23:49.403" v="65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82637165-BD6C-463E-9368-D87AAFC267FD}" dt="2021-05-07T08:22:32.610" v="49" actId="1037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82637165-BD6C-463E-9368-D87AAFC267FD}" dt="2021-05-07T08:24:10.739" v="73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82637165-BD6C-463E-9368-D87AAFC267FD}" dt="2021-05-07T08:19:21.362" v="21" actId="1076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Meyer Raphael (PAR-ES)" userId="79615dfe-ed48-4e74-a40f-4f7b034c1c27" providerId="ADAL" clId="{82637165-BD6C-463E-9368-D87AAFC267FD}" dt="2021-05-07T08:19:43.136" v="2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82637165-BD6C-463E-9368-D87AAFC267FD}" dt="2021-05-07T08:22:59.800" v="53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82637165-BD6C-463E-9368-D87AAFC267FD}" dt="2021-05-07T08:27:30.560" v="98" actId="2696"/>
        <pc:sldMkLst>
          <pc:docMk/>
          <pc:sldMk cId="3739047188" sldId="350"/>
        </pc:sldMkLst>
      </pc:sldChg>
      <pc:sldChg chg="del">
        <pc:chgData name="Meyer Raphael (PAR-ES)" userId="79615dfe-ed48-4e74-a40f-4f7b034c1c27" providerId="ADAL" clId="{82637165-BD6C-463E-9368-D87AAFC267FD}" dt="2021-05-07T08:25:58.183" v="88" actId="2696"/>
        <pc:sldMkLst>
          <pc:docMk/>
          <pc:sldMk cId="2393230848" sldId="351"/>
        </pc:sldMkLst>
      </pc:sldChg>
      <pc:sldChg chg="addSp delSp modSp add mod ord">
        <pc:chgData name="Meyer Raphael (PAR-ES)" userId="79615dfe-ed48-4e74-a40f-4f7b034c1c27" providerId="ADAL" clId="{82637165-BD6C-463E-9368-D87AAFC267FD}" dt="2021-05-07T08:25:44.501" v="87"/>
        <pc:sldMkLst>
          <pc:docMk/>
          <pc:sldMk cId="258869739" sldId="352"/>
        </pc:sldMkLst>
        <pc:spChg chg="mod">
          <ac:chgData name="Meyer Raphael (PAR-ES)" userId="79615dfe-ed48-4e74-a40f-4f7b034c1c27" providerId="ADAL" clId="{82637165-BD6C-463E-9368-D87AAFC267FD}" dt="2021-05-07T08:25:14.962" v="83"/>
          <ac:spMkLst>
            <pc:docMk/>
            <pc:sldMk cId="258869739" sldId="35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5:33.603" v="86" actId="14100"/>
          <ac:spMkLst>
            <pc:docMk/>
            <pc:sldMk cId="258869739" sldId="35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5:23.092" v="84"/>
          <ac:spMkLst>
            <pc:docMk/>
            <pc:sldMk cId="258869739" sldId="35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1" creationId="{225F8337-C3FF-4CEB-A181-B1B32D72317B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2" creationId="{B5FD2E8E-AE89-4E27-9BBC-7D565A76C919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3" creationId="{90D2E59A-72A5-403D-B396-28CBDCD1F235}"/>
          </ac:spMkLst>
        </pc:spChg>
        <pc:spChg chg="add mod">
          <ac:chgData name="Meyer Raphael (PAR-ES)" userId="79615dfe-ed48-4e74-a40f-4f7b034c1c27" providerId="ADAL" clId="{82637165-BD6C-463E-9368-D87AAFC267FD}" dt="2021-05-07T08:25:05.397" v="82"/>
          <ac:spMkLst>
            <pc:docMk/>
            <pc:sldMk cId="258869739" sldId="352"/>
            <ac:spMk id="25" creationId="{57B8763A-F885-4C9A-840D-34497D986AAA}"/>
          </ac:spMkLst>
        </pc:spChg>
        <pc:spChg chg="del mod">
          <ac:chgData name="Meyer Raphael (PAR-ES)" userId="79615dfe-ed48-4e74-a40f-4f7b034c1c27" providerId="ADAL" clId="{82637165-BD6C-463E-9368-D87AAFC267FD}" dt="2021-05-07T08:24:57.451" v="81" actId="478"/>
          <ac:spMkLst>
            <pc:docMk/>
            <pc:sldMk cId="258869739" sldId="35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5:44.501" v="87"/>
          <ac:spMkLst>
            <pc:docMk/>
            <pc:sldMk cId="258869739" sldId="35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82637165-BD6C-463E-9368-D87AAFC267FD}" dt="2021-05-07T08:27:07.666" v="97" actId="14100"/>
        <pc:sldMkLst>
          <pc:docMk/>
          <pc:sldMk cId="1811537745" sldId="353"/>
        </pc:sldMkLst>
        <pc:spChg chg="mod">
          <ac:chgData name="Meyer Raphael (PAR-ES)" userId="79615dfe-ed48-4e74-a40f-4f7b034c1c27" providerId="ADAL" clId="{82637165-BD6C-463E-9368-D87AAFC267FD}" dt="2021-05-07T08:26:22.370" v="91"/>
          <ac:spMkLst>
            <pc:docMk/>
            <pc:sldMk cId="1811537745" sldId="35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82637165-BD6C-463E-9368-D87AAFC267FD}" dt="2021-05-07T08:26:46.400" v="94" actId="14100"/>
          <ac:spMkLst>
            <pc:docMk/>
            <pc:sldMk cId="1811537745" sldId="35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82637165-BD6C-463E-9368-D87AAFC267FD}" dt="2021-05-07T08:26:31.795" v="92"/>
          <ac:spMkLst>
            <pc:docMk/>
            <pc:sldMk cId="1811537745" sldId="35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1" creationId="{FB2B039D-AD06-478D-BCDB-42071EB5FE08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2" creationId="{DD1F5D60-0ADD-4851-97F6-B86DA3243C0E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3" creationId="{50AB6593-6C25-4BD3-A28F-441B06407BBB}"/>
          </ac:spMkLst>
        </pc:spChg>
        <pc:spChg chg="add mod">
          <ac:chgData name="Meyer Raphael (PAR-ES)" userId="79615dfe-ed48-4e74-a40f-4f7b034c1c27" providerId="ADAL" clId="{82637165-BD6C-463E-9368-D87AAFC267FD}" dt="2021-05-07T08:26:13.070" v="90"/>
          <ac:spMkLst>
            <pc:docMk/>
            <pc:sldMk cId="1811537745" sldId="353"/>
            <ac:spMk id="25" creationId="{520C7219-E300-43C6-9806-34A62ED6C94B}"/>
          </ac:spMkLst>
        </pc:spChg>
        <pc:spChg chg="del">
          <ac:chgData name="Meyer Raphael (PAR-ES)" userId="79615dfe-ed48-4e74-a40f-4f7b034c1c27" providerId="ADAL" clId="{82637165-BD6C-463E-9368-D87AAFC267FD}" dt="2021-05-07T08:26:05.002" v="89" actId="478"/>
          <ac:spMkLst>
            <pc:docMk/>
            <pc:sldMk cId="1811537745" sldId="35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82637165-BD6C-463E-9368-D87AAFC267FD}" dt="2021-05-07T08:27:07.666" v="97" actId="14100"/>
          <ac:spMkLst>
            <pc:docMk/>
            <pc:sldMk cId="1811537745" sldId="35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B0E92903-F512-4B5C-8C62-1C6EC17B587B}"/>
    <pc:docChg chg="custSel addSld modSld sldOrd">
      <pc:chgData name="Meyer Raphael (PAR-ES)" userId="79615dfe-ed48-4e74-a40f-4f7b034c1c27" providerId="ADAL" clId="{B0E92903-F512-4B5C-8C62-1C6EC17B587B}" dt="2021-10-05T13:09:13.838" v="206" actId="729"/>
      <pc:docMkLst>
        <pc:docMk/>
      </pc:docMkLst>
      <pc:sldChg chg="addSp modSp add mod ord modShow">
        <pc:chgData name="Meyer Raphael (PAR-ES)" userId="79615dfe-ed48-4e74-a40f-4f7b034c1c27" providerId="ADAL" clId="{B0E92903-F512-4B5C-8C62-1C6EC17B587B}" dt="2021-10-05T13:09:09.029" v="205" actId="729"/>
        <pc:sldMkLst>
          <pc:docMk/>
          <pc:sldMk cId="4111543747" sldId="368"/>
        </pc:sldMkLst>
        <pc:spChg chg="add mod">
          <ac:chgData name="Meyer Raphael (PAR-ES)" userId="79615dfe-ed48-4e74-a40f-4f7b034c1c27" providerId="ADAL" clId="{B0E92903-F512-4B5C-8C62-1C6EC17B587B}" dt="2021-10-05T13:08:52.268" v="203" actId="1076"/>
          <ac:spMkLst>
            <pc:docMk/>
            <pc:sldMk cId="4111543747" sldId="368"/>
            <ac:spMk id="4" creationId="{36A53D69-F0A7-48F1-A475-7ED108947EAA}"/>
          </ac:spMkLst>
        </pc:spChg>
        <pc:spChg chg="mod">
          <ac:chgData name="Meyer Raphael (PAR-ES)" userId="79615dfe-ed48-4e74-a40f-4f7b034c1c27" providerId="ADAL" clId="{B0E92903-F512-4B5C-8C62-1C6EC17B587B}" dt="2021-10-05T13:01:49.774" v="60" actId="1076"/>
          <ac:spMkLst>
            <pc:docMk/>
            <pc:sldMk cId="4111543747" sldId="368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B0E92903-F512-4B5C-8C62-1C6EC17B587B}" dt="2021-10-05T13:08:39.891" v="202"/>
          <ac:graphicFrameMkLst>
            <pc:docMk/>
            <pc:sldMk cId="4111543747" sldId="368"/>
            <ac:graphicFrameMk id="5" creationId="{4CF6AB8B-CAB9-4C7E-8E59-E00357A4D7F0}"/>
          </ac:graphicFrameMkLst>
        </pc:graphicFrameChg>
      </pc:sldChg>
      <pc:sldChg chg="addSp delSp modSp add mod modShow">
        <pc:chgData name="Meyer Raphael (PAR-ES)" userId="79615dfe-ed48-4e74-a40f-4f7b034c1c27" providerId="ADAL" clId="{B0E92903-F512-4B5C-8C62-1C6EC17B587B}" dt="2021-10-05T13:09:13.838" v="206" actId="729"/>
        <pc:sldMkLst>
          <pc:docMk/>
          <pc:sldMk cId="2479672112" sldId="369"/>
        </pc:sldMkLst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B0E92903-F512-4B5C-8C62-1C6EC17B587B}" dt="2021-10-05T13:06:12.239" v="188" actId="1035"/>
          <ac:spMkLst>
            <pc:docMk/>
            <pc:sldMk cId="2479672112" sldId="369"/>
            <ac:spMk id="13" creationId="{93412675-62AA-41D8-997C-4E877ED953A8}"/>
          </ac:spMkLst>
        </pc:spChg>
        <pc:spChg chg="add mod">
          <ac:chgData name="Meyer Raphael (PAR-ES)" userId="79615dfe-ed48-4e74-a40f-4f7b034c1c27" providerId="ADAL" clId="{B0E92903-F512-4B5C-8C62-1C6EC17B587B}" dt="2021-10-05T13:08:57.325" v="204"/>
          <ac:spMkLst>
            <pc:docMk/>
            <pc:sldMk cId="2479672112" sldId="369"/>
            <ac:spMk id="15" creationId="{08D65015-F9CA-44B6-99AD-28C21DDCAEF8}"/>
          </ac:spMkLst>
        </pc:spChg>
        <pc:graphicFrameChg chg="mod">
          <ac:chgData name="Meyer Raphael (PAR-ES)" userId="79615dfe-ed48-4e74-a40f-4f7b034c1c27" providerId="ADAL" clId="{B0E92903-F512-4B5C-8C62-1C6EC17B587B}" dt="2021-10-05T13:05:51.452" v="150" actId="103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del">
          <ac:chgData name="Meyer Raphael (PAR-ES)" userId="79615dfe-ed48-4e74-a40f-4f7b034c1c27" providerId="ADAL" clId="{B0E92903-F512-4B5C-8C62-1C6EC17B587B}" dt="2021-10-05T13:05:43.422" v="109" actId="21"/>
          <ac:graphicFrameMkLst>
            <pc:docMk/>
            <pc:sldMk cId="2479672112" sldId="369"/>
            <ac:graphicFrameMk id="9" creationId="{E1369C63-C4A7-403B-A03F-B004599F910A}"/>
          </ac:graphicFrameMkLst>
        </pc:graphicFrameChg>
        <pc:graphicFrameChg chg="add mod">
          <ac:chgData name="Meyer Raphael (PAR-ES)" userId="79615dfe-ed48-4e74-a40f-4f7b034c1c27" providerId="ADAL" clId="{B0E92903-F512-4B5C-8C62-1C6EC17B587B}" dt="2021-10-05T13:07:28.054" v="191" actId="693"/>
          <ac:graphicFrameMkLst>
            <pc:docMk/>
            <pc:sldMk cId="2479672112" sldId="369"/>
            <ac:graphicFrameMk id="14" creationId="{448E30CC-0B60-4748-AEB6-C3648EB8AB40}"/>
          </ac:graphicFrameMkLst>
        </pc:graphicFrameChg>
        <pc:cxnChg chg="mod">
          <ac:chgData name="Meyer Raphael (PAR-ES)" userId="79615dfe-ed48-4e74-a40f-4f7b034c1c27" providerId="ADAL" clId="{B0E92903-F512-4B5C-8C62-1C6EC17B587B}" dt="2021-10-05T13:06:23.456" v="189" actId="14100"/>
          <ac:cxnSpMkLst>
            <pc:docMk/>
            <pc:sldMk cId="2479672112" sldId="369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5528737C-C315-4961-BADA-2AFD94279709}"/>
    <pc:docChg chg="custSel addSld delSld modSld sldOrd">
      <pc:chgData name="Meyer Raphael (PAR-ES)" userId="79615dfe-ed48-4e74-a40f-4f7b034c1c27" providerId="ADAL" clId="{5528737C-C315-4961-BADA-2AFD94279709}" dt="2021-02-04T09:20:18.670" v="64" actId="2696"/>
      <pc:docMkLst>
        <pc:docMk/>
      </pc:docMkLst>
      <pc:sldChg chg="modSp mod">
        <pc:chgData name="Meyer Raphael (PAR-ES)" userId="79615dfe-ed48-4e74-a40f-4f7b034c1c27" providerId="ADAL" clId="{5528737C-C315-4961-BADA-2AFD94279709}" dt="2021-02-04T09:16:40.032" v="47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5528737C-C315-4961-BADA-2AFD94279709}" dt="2021-02-04T09:14:18.918" v="25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5528737C-C315-4961-BADA-2AFD94279709}" dt="2021-02-04T09:14:09.807" v="23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5528737C-C315-4961-BADA-2AFD94279709}" dt="2021-02-04T09:16:40.032" v="4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5528737C-C315-4961-BADA-2AFD94279709}" dt="2021-02-04T09:18:44.866" v="57" actId="2696"/>
        <pc:sldMkLst>
          <pc:docMk/>
          <pc:sldMk cId="3848357479" sldId="323"/>
        </pc:sldMkLst>
      </pc:sldChg>
      <pc:sldChg chg="del">
        <pc:chgData name="Meyer Raphael (PAR-ES)" userId="79615dfe-ed48-4e74-a40f-4f7b034c1c27" providerId="ADAL" clId="{5528737C-C315-4961-BADA-2AFD94279709}" dt="2021-02-04T09:20:18.670" v="64" actId="2696"/>
        <pc:sldMkLst>
          <pc:docMk/>
          <pc:sldMk cId="2334667298" sldId="324"/>
        </pc:sldMkLst>
      </pc:sldChg>
      <pc:sldChg chg="addSp delSp modSp add ord">
        <pc:chgData name="Meyer Raphael (PAR-ES)" userId="79615dfe-ed48-4e74-a40f-4f7b034c1c27" providerId="ADAL" clId="{5528737C-C315-4961-BADA-2AFD94279709}" dt="2021-02-04T09:18:15.544" v="56"/>
        <pc:sldMkLst>
          <pc:docMk/>
          <pc:sldMk cId="3641903134" sldId="326"/>
        </pc:sldMkLst>
        <pc:spChg chg="mod">
          <ac:chgData name="Meyer Raphael (PAR-ES)" userId="79615dfe-ed48-4e74-a40f-4f7b034c1c27" providerId="ADAL" clId="{5528737C-C315-4961-BADA-2AFD94279709}" dt="2021-02-04T09:17:54.175" v="54"/>
          <ac:spMkLst>
            <pc:docMk/>
            <pc:sldMk cId="3641903134" sldId="32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8:04.885" v="55"/>
          <ac:spMkLst>
            <pc:docMk/>
            <pc:sldMk cId="3641903134" sldId="32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7:28.969" v="52" actId="478"/>
          <ac:spMkLst>
            <pc:docMk/>
            <pc:sldMk cId="3641903134" sldId="32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18:15.544" v="56"/>
          <ac:spMkLst>
            <pc:docMk/>
            <pc:sldMk cId="3641903134" sldId="326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6" creationId="{B69A5B07-E96F-416B-92F4-DAFF83FC00B2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8" creationId="{35AF69BD-D9E3-48BC-8B9F-970669FD37B5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39" creationId="{6CA1E68D-9C90-45A5-BC20-B3318C6C8E13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0" creationId="{D85C4715-7B41-4B86-B025-1D7EEB9511B9}"/>
          </ac:spMkLst>
        </pc:spChg>
        <pc:spChg chg="add">
          <ac:chgData name="Meyer Raphael (PAR-ES)" userId="79615dfe-ed48-4e74-a40f-4f7b034c1c27" providerId="ADAL" clId="{5528737C-C315-4961-BADA-2AFD94279709}" dt="2021-02-04T09:17:43.512" v="53"/>
          <ac:spMkLst>
            <pc:docMk/>
            <pc:sldMk cId="3641903134" sldId="326"/>
            <ac:spMk id="41" creationId="{A4718125-B677-437A-8CA6-03417515568C}"/>
          </ac:spMkLst>
        </pc:spChg>
      </pc:sldChg>
      <pc:sldChg chg="addSp delSp modSp add ord">
        <pc:chgData name="Meyer Raphael (PAR-ES)" userId="79615dfe-ed48-4e74-a40f-4f7b034c1c27" providerId="ADAL" clId="{5528737C-C315-4961-BADA-2AFD94279709}" dt="2021-02-04T09:20:06.672" v="63" actId="14100"/>
        <pc:sldMkLst>
          <pc:docMk/>
          <pc:sldMk cId="3348111305" sldId="327"/>
        </pc:sldMkLst>
        <pc:spChg chg="mod">
          <ac:chgData name="Meyer Raphael (PAR-ES)" userId="79615dfe-ed48-4e74-a40f-4f7b034c1c27" providerId="ADAL" clId="{5528737C-C315-4961-BADA-2AFD94279709}" dt="2021-02-04T09:19:33.942" v="60"/>
          <ac:spMkLst>
            <pc:docMk/>
            <pc:sldMk cId="3348111305" sldId="327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5528737C-C315-4961-BADA-2AFD94279709}" dt="2021-02-04T09:19:47.250" v="61"/>
          <ac:spMkLst>
            <pc:docMk/>
            <pc:sldMk cId="3348111305" sldId="32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17" creationId="{785E740C-F94A-4208-8DFD-63A603C16577}"/>
          </ac:spMkLst>
        </pc:spChg>
        <pc:spChg chg="del">
          <ac:chgData name="Meyer Raphael (PAR-ES)" userId="79615dfe-ed48-4e74-a40f-4f7b034c1c27" providerId="ADAL" clId="{5528737C-C315-4961-BADA-2AFD94279709}" dt="2021-02-04T09:19:09.405" v="58" actId="478"/>
          <ac:spMkLst>
            <pc:docMk/>
            <pc:sldMk cId="3348111305" sldId="32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5528737C-C315-4961-BADA-2AFD94279709}" dt="2021-02-04T09:20:06.672" v="63" actId="14100"/>
          <ac:spMkLst>
            <pc:docMk/>
            <pc:sldMk cId="3348111305" sldId="327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6" creationId="{69A2CC5D-E7DE-44F5-BFB7-8431BD6704F8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8" creationId="{4E217782-0B12-41FA-A97D-B152FA119DB5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39" creationId="{B8235BC5-BE3E-46AF-A605-AFC9661751D1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0" creationId="{926928CE-8B57-47B4-904C-6FF3C22107AF}"/>
          </ac:spMkLst>
        </pc:spChg>
        <pc:spChg chg="add">
          <ac:chgData name="Meyer Raphael (PAR-ES)" userId="79615dfe-ed48-4e74-a40f-4f7b034c1c27" providerId="ADAL" clId="{5528737C-C315-4961-BADA-2AFD94279709}" dt="2021-02-04T09:19:23.408" v="59"/>
          <ac:spMkLst>
            <pc:docMk/>
            <pc:sldMk cId="3348111305" sldId="327"/>
            <ac:spMk id="41" creationId="{3CE54247-5290-47C5-A732-A82FB2D50E0A}"/>
          </ac:spMkLst>
        </pc:spChg>
      </pc:sldChg>
    </pc:docChg>
  </pc:docChgLst>
  <pc:docChgLst>
    <pc:chgData name="Meyer Raphael (PAR-ES)" userId="79615dfe-ed48-4e74-a40f-4f7b034c1c27" providerId="ADAL" clId="{EF1FC0F8-B9C4-4F2D-A33F-C755998C42B1}"/>
    <pc:docChg chg="modSld">
      <pc:chgData name="Meyer Raphael (PAR-ES)" userId="79615dfe-ed48-4e74-a40f-4f7b034c1c27" providerId="ADAL" clId="{EF1FC0F8-B9C4-4F2D-A33F-C755998C42B1}" dt="2021-07-09T09:26:33.786" v="93" actId="1038"/>
      <pc:docMkLst>
        <pc:docMk/>
      </pc:docMkLst>
      <pc:sldChg chg="modSp mod">
        <pc:chgData name="Meyer Raphael (PAR-ES)" userId="79615dfe-ed48-4e74-a40f-4f7b034c1c27" providerId="ADAL" clId="{EF1FC0F8-B9C4-4F2D-A33F-C755998C42B1}" dt="2021-07-09T09:22:24.942" v="50" actId="27918"/>
        <pc:sldMkLst>
          <pc:docMk/>
          <pc:sldMk cId="1495152177" sldId="298"/>
        </pc:sldMkLst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2:11.032" v="48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EF1FC0F8-B9C4-4F2D-A33F-C755998C42B1}" dt="2021-07-09T09:16:49.409" v="1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2:11.032" v="48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4:31.830" v="72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4:31.830" v="72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17.209" v="1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4:31.830" v="72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EF1FC0F8-B9C4-4F2D-A33F-C755998C42B1}" dt="2021-07-09T09:26:33.786" v="93" actId="1038"/>
        <pc:sldMkLst>
          <pc:docMk/>
          <pc:sldMk cId="689864941" sldId="366"/>
        </pc:sldMkLst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F1FC0F8-B9C4-4F2D-A33F-C755998C42B1}" dt="2021-07-09T09:26:33.786" v="9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EF1FC0F8-B9C4-4F2D-A33F-C755998C42B1}" dt="2021-07-09T09:17:21.223" v="17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EF1FC0F8-B9C4-4F2D-A33F-C755998C42B1}" dt="2021-07-09T09:26:33.786" v="9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89FC39B2-103A-4EEF-895E-3C08461244ED}"/>
    <pc:docChg chg="modSld">
      <pc:chgData name="Meyer Raphael (PAR-ES)" userId="79615dfe-ed48-4e74-a40f-4f7b034c1c27" providerId="ADAL" clId="{89FC39B2-103A-4EEF-895E-3C08461244ED}" dt="2021-10-01T08:41:50.683" v="29" actId="1037"/>
      <pc:docMkLst>
        <pc:docMk/>
      </pc:docMkLst>
      <pc:sldChg chg="modSp mod">
        <pc:chgData name="Meyer Raphael (PAR-ES)" userId="79615dfe-ed48-4e74-a40f-4f7b034c1c27" providerId="ADAL" clId="{89FC39B2-103A-4EEF-895E-3C08461244ED}" dt="2021-10-01T08:41:16.302" v="10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16.302" v="10" actId="1038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16.302" v="10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35.721" v="21" actId="1037"/>
        <pc:sldMkLst>
          <pc:docMk/>
          <pc:sldMk cId="3590012689" sldId="365"/>
        </pc:sldMkLst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35.721" v="21" actId="1037"/>
          <ac:spMkLst>
            <pc:docMk/>
            <pc:sldMk cId="3590012689" sldId="365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35.721" v="21" actId="1037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89FC39B2-103A-4EEF-895E-3C08461244ED}" dt="2021-10-01T08:41:50.683" v="2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89FC39B2-103A-4EEF-895E-3C08461244ED}" dt="2021-10-01T08:41:50.683" v="29" actId="1037"/>
          <ac:spMkLst>
            <pc:docMk/>
            <pc:sldMk cId="689864941" sldId="366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89FC39B2-103A-4EEF-895E-3C08461244ED}" dt="2021-10-01T08:41:50.683" v="2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Weigel Stefan (KOM-PGA-VSF)" userId="fd3b2067-2981-4ad8-bf3a-d2e1004e4fa8" providerId="ADAL" clId="{EDEF8CE5-AEB3-4B6F-9D97-5FC90FB664AC}"/>
    <pc:docChg chg="modSld">
      <pc:chgData name="Weigel Stefan (KOM-PGA-VSF)" userId="fd3b2067-2981-4ad8-bf3a-d2e1004e4fa8" providerId="ADAL" clId="{EDEF8CE5-AEB3-4B6F-9D97-5FC90FB664AC}" dt="2020-12-23T10:57:56.671" v="137" actId="1038"/>
      <pc:docMkLst>
        <pc:docMk/>
      </pc:docMkLst>
      <pc:sldChg chg="modSp mod">
        <pc:chgData name="Weigel Stefan (KOM-PGA-VSF)" userId="fd3b2067-2981-4ad8-bf3a-d2e1004e4fa8" providerId="ADAL" clId="{EDEF8CE5-AEB3-4B6F-9D97-5FC90FB664AC}" dt="2020-12-23T10:52:55.375" v="52" actId="1038"/>
        <pc:sldMkLst>
          <pc:docMk/>
          <pc:sldMk cId="1667945532" sldId="306"/>
        </pc:sldMkLst>
        <pc:spChg chg="mod">
          <ac:chgData name="Weigel Stefan (KOM-PGA-VSF)" userId="fd3b2067-2981-4ad8-bf3a-d2e1004e4fa8" providerId="ADAL" clId="{EDEF8CE5-AEB3-4B6F-9D97-5FC90FB664AC}" dt="2020-12-23T10:47:01.964" v="12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Weigel Stefan (KOM-PGA-VSF)" userId="fd3b2067-2981-4ad8-bf3a-d2e1004e4fa8" providerId="ADAL" clId="{EDEF8CE5-AEB3-4B6F-9D97-5FC90FB664AC}" dt="2020-12-23T10:47:39.656" v="2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48:35.169" v="24" actId="1038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1:32.168" v="38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46:52.113" v="10" actId="1038"/>
          <ac:spMkLst>
            <pc:docMk/>
            <pc:sldMk cId="1667945532" sldId="306"/>
            <ac:spMk id="32" creationId="{E65DDA4F-7190-4D5B-B875-6818D18C9F6E}"/>
          </ac:spMkLst>
        </pc:spChg>
        <pc:cxnChg chg="mod">
          <ac:chgData name="Weigel Stefan (KOM-PGA-VSF)" userId="fd3b2067-2981-4ad8-bf3a-d2e1004e4fa8" providerId="ADAL" clId="{EDEF8CE5-AEB3-4B6F-9D97-5FC90FB664AC}" dt="2020-12-23T10:52:55.375" v="52" actId="1038"/>
          <ac:cxnSpMkLst>
            <pc:docMk/>
            <pc:sldMk cId="1667945532" sldId="306"/>
            <ac:cxnSpMk id="20" creationId="{07FCC63F-5E2F-43DF-84ED-5FFEC92A0042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5:53.829" v="92" actId="20577"/>
        <pc:sldMkLst>
          <pc:docMk/>
          <pc:sldMk cId="2802950074" sldId="315"/>
        </pc:sldMkLst>
        <pc:spChg chg="mod">
          <ac:chgData name="Weigel Stefan (KOM-PGA-VSF)" userId="fd3b2067-2981-4ad8-bf3a-d2e1004e4fa8" providerId="ADAL" clId="{EDEF8CE5-AEB3-4B6F-9D97-5FC90FB664AC}" dt="2020-12-23T10:54:41.146" v="80" actId="20577"/>
          <ac:spMkLst>
            <pc:docMk/>
            <pc:sldMk cId="2802950074" sldId="315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5:35.200" v="86" actId="1038"/>
          <ac:spMkLst>
            <pc:docMk/>
            <pc:sldMk cId="2802950074" sldId="315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5:53.829" v="92" actId="20577"/>
          <ac:spMkLst>
            <pc:docMk/>
            <pc:sldMk cId="2802950074" sldId="315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4:07.178" v="67" actId="1038"/>
          <ac:spMkLst>
            <pc:docMk/>
            <pc:sldMk cId="2802950074" sldId="315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3:11.504" v="54" actId="20577"/>
          <ac:spMkLst>
            <pc:docMk/>
            <pc:sldMk cId="2802950074" sldId="315"/>
            <ac:spMk id="42" creationId="{A033A810-BFFD-406C-88F8-2749262D34FE}"/>
          </ac:spMkLst>
        </pc:spChg>
        <pc:cxnChg chg="mod">
          <ac:chgData name="Weigel Stefan (KOM-PGA-VSF)" userId="fd3b2067-2981-4ad8-bf3a-d2e1004e4fa8" providerId="ADAL" clId="{EDEF8CE5-AEB3-4B6F-9D97-5FC90FB664AC}" dt="2020-12-23T10:54:17.729" v="72" actId="1037"/>
          <ac:cxnSpMkLst>
            <pc:docMk/>
            <pc:sldMk cId="2802950074" sldId="315"/>
            <ac:cxnSpMk id="41" creationId="{F0EC26E9-4A45-4EBB-BA47-C888CB01B42C}"/>
          </ac:cxnSpMkLst>
        </pc:cxnChg>
      </pc:sldChg>
      <pc:sldChg chg="modSp mod">
        <pc:chgData name="Weigel Stefan (KOM-PGA-VSF)" userId="fd3b2067-2981-4ad8-bf3a-d2e1004e4fa8" providerId="ADAL" clId="{EDEF8CE5-AEB3-4B6F-9D97-5FC90FB664AC}" dt="2020-12-23T10:57:56.671" v="137" actId="1038"/>
        <pc:sldMkLst>
          <pc:docMk/>
          <pc:sldMk cId="3685268070" sldId="316"/>
        </pc:sldMkLst>
        <pc:spChg chg="mod">
          <ac:chgData name="Weigel Stefan (KOM-PGA-VSF)" userId="fd3b2067-2981-4ad8-bf3a-d2e1004e4fa8" providerId="ADAL" clId="{EDEF8CE5-AEB3-4B6F-9D97-5FC90FB664AC}" dt="2020-12-23T10:57:08.004" v="125" actId="20577"/>
          <ac:spMkLst>
            <pc:docMk/>
            <pc:sldMk cId="3685268070" sldId="316"/>
            <ac:spMk id="27" creationId="{46A6B042-39EE-4A58-BBAA-13D52264B660}"/>
          </ac:spMkLst>
        </pc:spChg>
        <pc:spChg chg="mod">
          <ac:chgData name="Weigel Stefan (KOM-PGA-VSF)" userId="fd3b2067-2981-4ad8-bf3a-d2e1004e4fa8" providerId="ADAL" clId="{EDEF8CE5-AEB3-4B6F-9D97-5FC90FB664AC}" dt="2020-12-23T10:57:56.671" v="137" actId="1038"/>
          <ac:spMkLst>
            <pc:docMk/>
            <pc:sldMk cId="3685268070" sldId="316"/>
            <ac:spMk id="28" creationId="{4492A3CD-6943-423D-BFEC-8129889E8B6F}"/>
          </ac:spMkLst>
        </pc:spChg>
        <pc:spChg chg="mod">
          <ac:chgData name="Weigel Stefan (KOM-PGA-VSF)" userId="fd3b2067-2981-4ad8-bf3a-d2e1004e4fa8" providerId="ADAL" clId="{EDEF8CE5-AEB3-4B6F-9D97-5FC90FB664AC}" dt="2020-12-23T10:57:20.598" v="131" actId="20577"/>
          <ac:spMkLst>
            <pc:docMk/>
            <pc:sldMk cId="3685268070" sldId="316"/>
            <ac:spMk id="31" creationId="{7491A47D-CAD4-478D-8F3A-296FFCB799F9}"/>
          </ac:spMkLst>
        </pc:spChg>
        <pc:spChg chg="mod">
          <ac:chgData name="Weigel Stefan (KOM-PGA-VSF)" userId="fd3b2067-2981-4ad8-bf3a-d2e1004e4fa8" providerId="ADAL" clId="{EDEF8CE5-AEB3-4B6F-9D97-5FC90FB664AC}" dt="2020-12-23T10:56:56.716" v="119" actId="1038"/>
          <ac:spMkLst>
            <pc:docMk/>
            <pc:sldMk cId="3685268070" sldId="316"/>
            <ac:spMk id="32" creationId="{E65DDA4F-7190-4D5B-B875-6818D18C9F6E}"/>
          </ac:spMkLst>
        </pc:spChg>
        <pc:spChg chg="mod">
          <ac:chgData name="Weigel Stefan (KOM-PGA-VSF)" userId="fd3b2067-2981-4ad8-bf3a-d2e1004e4fa8" providerId="ADAL" clId="{EDEF8CE5-AEB3-4B6F-9D97-5FC90FB664AC}" dt="2020-12-23T10:56:04.548" v="94" actId="20577"/>
          <ac:spMkLst>
            <pc:docMk/>
            <pc:sldMk cId="3685268070" sldId="316"/>
            <ac:spMk id="41" creationId="{DD1D7DED-B5E6-4EA2-9113-4A179D74E57F}"/>
          </ac:spMkLst>
        </pc:spChg>
        <pc:cxnChg chg="mod">
          <ac:chgData name="Weigel Stefan (KOM-PGA-VSF)" userId="fd3b2067-2981-4ad8-bf3a-d2e1004e4fa8" providerId="ADAL" clId="{EDEF8CE5-AEB3-4B6F-9D97-5FC90FB664AC}" dt="2020-12-23T10:56:09.872" v="100" actId="1037"/>
          <ac:cxnSpMkLst>
            <pc:docMk/>
            <pc:sldMk cId="3685268070" sldId="316"/>
            <ac:cxnSpMk id="20" creationId="{07FCC63F-5E2F-43DF-84ED-5FFEC92A0042}"/>
          </ac:cxnSpMkLst>
        </pc:cxnChg>
      </pc:sldChg>
    </pc:docChg>
  </pc:docChgLst>
  <pc:docChgLst>
    <pc:chgData name="Zeller Andrea (KOM-MF-CID)" userId="5e8ae8d3-c7b8-435e-9429-37345fcff44c" providerId="ADAL" clId="{29954E35-41BF-4A3F-9459-33302CDBE46E}"/>
    <pc:docChg chg="undo custSel modSld">
      <pc:chgData name="Zeller Andrea (KOM-MF-CID)" userId="5e8ae8d3-c7b8-435e-9429-37345fcff44c" providerId="ADAL" clId="{29954E35-41BF-4A3F-9459-33302CDBE46E}" dt="2021-11-03T12:48:45.404" v="77" actId="478"/>
      <pc:docMkLst>
        <pc:docMk/>
      </pc:docMkLst>
      <pc:sldChg chg="addSp delSp modSp mod">
        <pc:chgData name="Zeller Andrea (KOM-MF-CID)" userId="5e8ae8d3-c7b8-435e-9429-37345fcff44c" providerId="ADAL" clId="{29954E35-41BF-4A3F-9459-33302CDBE46E}" dt="2021-11-03T12:48:45.404" v="77" actId="478"/>
        <pc:sldMkLst>
          <pc:docMk/>
          <pc:sldMk cId="3808035539" sldId="270"/>
        </pc:sldMkLst>
        <pc:spChg chg="mod">
          <ac:chgData name="Zeller Andrea (KOM-MF-CID)" userId="5e8ae8d3-c7b8-435e-9429-37345fcff44c" providerId="ADAL" clId="{29954E35-41BF-4A3F-9459-33302CDBE46E}" dt="2021-11-03T12:44:44.181" v="10" actId="14100"/>
          <ac:spMkLst>
            <pc:docMk/>
            <pc:sldMk cId="3808035539" sldId="270"/>
            <ac:spMk id="2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8:09.117" v="64" actId="478"/>
          <ac:spMkLst>
            <pc:docMk/>
            <pc:sldMk cId="3808035539" sldId="270"/>
            <ac:spMk id="3" creationId="{00000000-0000-0000-0000-000000000000}"/>
          </ac:spMkLst>
        </pc:spChg>
        <pc:spChg chg="del mod">
          <ac:chgData name="Zeller Andrea (KOM-MF-CID)" userId="5e8ae8d3-c7b8-435e-9429-37345fcff44c" providerId="ADAL" clId="{29954E35-41BF-4A3F-9459-33302CDBE46E}" dt="2021-11-03T12:46:00.895" v="42" actId="478"/>
          <ac:spMkLst>
            <pc:docMk/>
            <pc:sldMk cId="3808035539" sldId="270"/>
            <ac:spMk id="5" creationId="{00000000-0000-0000-0000-000000000000}"/>
          </ac:spMkLst>
        </pc:spChg>
        <pc:spChg chg="add mod">
          <ac:chgData name="Zeller Andrea (KOM-MF-CID)" userId="5e8ae8d3-c7b8-435e-9429-37345fcff44c" providerId="ADAL" clId="{29954E35-41BF-4A3F-9459-33302CDBE46E}" dt="2021-11-03T12:44:32.958" v="9"/>
          <ac:spMkLst>
            <pc:docMk/>
            <pc:sldMk cId="3808035539" sldId="270"/>
            <ac:spMk id="6" creationId="{0148E78D-7FBB-46BC-A7E3-0EFE6D9E4679}"/>
          </ac:spMkLst>
        </pc:spChg>
        <pc:spChg chg="add del">
          <ac:chgData name="Zeller Andrea (KOM-MF-CID)" userId="5e8ae8d3-c7b8-435e-9429-37345fcff44c" providerId="ADAL" clId="{29954E35-41BF-4A3F-9459-33302CDBE46E}" dt="2021-11-03T12:45:27.130" v="12" actId="22"/>
          <ac:spMkLst>
            <pc:docMk/>
            <pc:sldMk cId="3808035539" sldId="270"/>
            <ac:spMk id="8" creationId="{C5394BCF-D835-46E6-A721-1DD2A68F8063}"/>
          </ac:spMkLst>
        </pc:spChg>
        <pc:spChg chg="add mod">
          <ac:chgData name="Zeller Andrea (KOM-MF-CID)" userId="5e8ae8d3-c7b8-435e-9429-37345fcff44c" providerId="ADAL" clId="{29954E35-41BF-4A3F-9459-33302CDBE46E}" dt="2021-11-03T12:48:42.093" v="76" actId="1037"/>
          <ac:spMkLst>
            <pc:docMk/>
            <pc:sldMk cId="3808035539" sldId="270"/>
            <ac:spMk id="10" creationId="{41B9B9AB-4B12-4760-AF37-4FABDDFAE68B}"/>
          </ac:spMkLst>
        </pc:spChg>
        <pc:graphicFrameChg chg="mod">
          <ac:chgData name="Zeller Andrea (KOM-MF-CID)" userId="5e8ae8d3-c7b8-435e-9429-37345fcff44c" providerId="ADAL" clId="{29954E35-41BF-4A3F-9459-33302CDBE46E}" dt="2021-11-03T12:43:16.882" v="4" actId="255"/>
          <ac:graphicFrameMkLst>
            <pc:docMk/>
            <pc:sldMk cId="3808035539" sldId="270"/>
            <ac:graphicFrameMk id="9" creationId="{00000000-0000-0000-0000-000000000000}"/>
          </ac:graphicFrameMkLst>
        </pc:graphicFrameChg>
        <pc:cxnChg chg="add del">
          <ac:chgData name="Zeller Andrea (KOM-MF-CID)" userId="5e8ae8d3-c7b8-435e-9429-37345fcff44c" providerId="ADAL" clId="{29954E35-41BF-4A3F-9459-33302CDBE46E}" dt="2021-11-03T12:48:45.404" v="77" actId="478"/>
          <ac:cxnSpMkLst>
            <pc:docMk/>
            <pc:sldMk cId="3808035539" sldId="270"/>
            <ac:cxnSpMk id="11" creationId="{BF63490B-C87B-4086-8901-5BDB02519BC7}"/>
          </ac:cxnSpMkLst>
        </pc:cxnChg>
      </pc:sldChg>
    </pc:docChg>
  </pc:docChgLst>
  <pc:docChgLst>
    <pc:chgData name="Meyer Raphael (PAR-ES)" userId="79615dfe-ed48-4e74-a40f-4f7b034c1c27" providerId="ADAL" clId="{3156068F-21D5-4E72-87AA-951E564FE16F}"/>
    <pc:docChg chg="modSld">
      <pc:chgData name="Meyer Raphael (PAR-ES)" userId="79615dfe-ed48-4e74-a40f-4f7b034c1c27" providerId="ADAL" clId="{3156068F-21D5-4E72-87AA-951E564FE16F}" dt="2021-08-20T12:08:49.615" v="92" actId="1037"/>
      <pc:docMkLst>
        <pc:docMk/>
      </pc:docMkLst>
      <pc:sldChg chg="modSp mod">
        <pc:chgData name="Meyer Raphael (PAR-ES)" userId="79615dfe-ed48-4e74-a40f-4f7b034c1c27" providerId="ADAL" clId="{3156068F-21D5-4E72-87AA-951E564FE16F}" dt="2021-08-20T12:03:51.406" v="46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3:51.406" v="46" actId="1037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156068F-21D5-4E72-87AA-951E564FE16F}" dt="2021-08-20T11:59:44.757" v="19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3:51.406" v="46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6:55.416" v="72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6:01.587" v="70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1.526" v="2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6:01.587" v="70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156068F-21D5-4E72-87AA-951E564FE16F}" dt="2021-08-20T12:08:49.615" v="92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156068F-21D5-4E72-87AA-951E564FE16F}" dt="2021-08-20T12:08:49.615" v="92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156068F-21D5-4E72-87AA-951E564FE16F}" dt="2021-08-20T12:00:06.295" v="2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156068F-21D5-4E72-87AA-951E564FE16F}" dt="2021-08-20T12:08:49.615" v="92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73F4FE47-712E-4DC0-BDEC-155433499AFA}"/>
    <pc:docChg chg="modSld">
      <pc:chgData name="Meyer Raphael (PAR-ES)" userId="79615dfe-ed48-4e74-a40f-4f7b034c1c27" providerId="ADAL" clId="{73F4FE47-712E-4DC0-BDEC-155433499AFA}" dt="2021-10-20T12:32:04.938" v="7" actId="20577"/>
      <pc:docMkLst>
        <pc:docMk/>
      </pc:docMkLst>
      <pc:sldChg chg="addSp modSp mod">
        <pc:chgData name="Meyer Raphael (PAR-ES)" userId="79615dfe-ed48-4e74-a40f-4f7b034c1c27" providerId="ADAL" clId="{73F4FE47-712E-4DC0-BDEC-155433499AFA}" dt="2021-10-20T12:32:04.938" v="7" actId="20577"/>
        <pc:sldMkLst>
          <pc:docMk/>
          <pc:sldMk cId="3759573184" sldId="375"/>
        </pc:sldMkLst>
        <pc:graphicFrameChg chg="add mod modGraphic">
          <ac:chgData name="Meyer Raphael (PAR-ES)" userId="79615dfe-ed48-4e74-a40f-4f7b034c1c27" providerId="ADAL" clId="{73F4FE47-712E-4DC0-BDEC-155433499AFA}" dt="2021-10-20T12:32:04.938" v="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</pc:sldChg>
      <pc:sldChg chg="mod">
        <pc:chgData name="Meyer Raphael (PAR-ES)" userId="79615dfe-ed48-4e74-a40f-4f7b034c1c27" providerId="ADAL" clId="{73F4FE47-712E-4DC0-BDEC-155433499AFA}" dt="2021-10-20T11:25:47.998" v="1" actId="27918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3E1166BF-094D-4C5D-934C-3C12DB15ADFC}"/>
    <pc:docChg chg="delSld">
      <pc:chgData name="Meyer Raphael (PAR-ES)" userId="79615dfe-ed48-4e74-a40f-4f7b034c1c27" providerId="ADAL" clId="{3E1166BF-094D-4C5D-934C-3C12DB15ADFC}" dt="2022-02-21T13:31:36.898" v="0" actId="47"/>
      <pc:docMkLst>
        <pc:docMk/>
      </pc:docMkLst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24746743" sldId="403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4185400525" sldId="404"/>
        </pc:sldMkLst>
      </pc:sldChg>
      <pc:sldChg chg="del">
        <pc:chgData name="Meyer Raphael (PAR-ES)" userId="79615dfe-ed48-4e74-a40f-4f7b034c1c27" providerId="ADAL" clId="{3E1166BF-094D-4C5D-934C-3C12DB15ADFC}" dt="2022-02-21T13:31:36.898" v="0" actId="47"/>
        <pc:sldMkLst>
          <pc:docMk/>
          <pc:sldMk cId="2617506047" sldId="405"/>
        </pc:sldMkLst>
      </pc:sldChg>
    </pc:docChg>
  </pc:docChgLst>
  <pc:docChgLst>
    <pc:chgData name="Meyer Raphael (PAR-ES)" userId="79615dfe-ed48-4e74-a40f-4f7b034c1c27" providerId="ADAL" clId="{50B11D1E-3C98-42A5-AC2C-CB81D3349B72}"/>
    <pc:docChg chg="undo custSel modSld">
      <pc:chgData name="Meyer Raphael (PAR-ES)" userId="79615dfe-ed48-4e74-a40f-4f7b034c1c27" providerId="ADAL" clId="{50B11D1E-3C98-42A5-AC2C-CB81D3349B72}" dt="2021-05-25T14:17:56.453" v="188" actId="1037"/>
      <pc:docMkLst>
        <pc:docMk/>
      </pc:docMkLst>
      <pc:sldChg chg="addSp delSp modSp mod">
        <pc:chgData name="Meyer Raphael (PAR-ES)" userId="79615dfe-ed48-4e74-a40f-4f7b034c1c27" providerId="ADAL" clId="{50B11D1E-3C98-42A5-AC2C-CB81D3349B72}" dt="2021-05-25T14:17:56.453" v="188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50B11D1E-3C98-42A5-AC2C-CB81D3349B72}" dt="2021-05-25T14:07:58.277" v="45" actId="1076"/>
          <ac:spMkLst>
            <pc:docMk/>
            <pc:sldMk cId="1495152177" sldId="298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2" creationId="{970D2C07-63A2-4265-B006-56F685FE80A5}"/>
          </ac:spMkLst>
        </pc:spChg>
        <pc:spChg chg="add mod">
          <ac:chgData name="Meyer Raphael (PAR-ES)" userId="79615dfe-ed48-4e74-a40f-4f7b034c1c27" providerId="ADAL" clId="{50B11D1E-3C98-42A5-AC2C-CB81D3349B72}" dt="2021-05-25T14:17:56.453" v="188" actId="1037"/>
          <ac:spMkLst>
            <pc:docMk/>
            <pc:sldMk cId="1495152177" sldId="298"/>
            <ac:spMk id="13" creationId="{93412675-62AA-41D8-997C-4E877ED953A8}"/>
          </ac:spMkLst>
        </pc:spChg>
        <pc:spChg chg="add del mod">
          <ac:chgData name="Meyer Raphael (PAR-ES)" userId="79615dfe-ed48-4e74-a40f-4f7b034c1c27" providerId="ADAL" clId="{50B11D1E-3C98-42A5-AC2C-CB81D3349B72}" dt="2021-05-25T14:16:37.093" v="156" actId="478"/>
          <ac:spMkLst>
            <pc:docMk/>
            <pc:sldMk cId="1495152177" sldId="298"/>
            <ac:spMk id="14" creationId="{205BF4D3-0DD6-43D2-894F-B7A9915CC8F0}"/>
          </ac:spMkLst>
        </pc:spChg>
        <pc:spChg chg="del">
          <ac:chgData name="Meyer Raphael (PAR-ES)" userId="79615dfe-ed48-4e74-a40f-4f7b034c1c27" providerId="ADAL" clId="{50B11D1E-3C98-42A5-AC2C-CB81D3349B72}" dt="2021-05-25T13:47:38.306" v="17" actId="478"/>
          <ac:spMkLst>
            <pc:docMk/>
            <pc:sldMk cId="1495152177" sldId="298"/>
            <ac:spMk id="15" creationId="{CC1F0CCA-7B55-41F9-A1FF-769ED7C753BD}"/>
          </ac:spMkLst>
        </pc:spChg>
        <pc:graphicFrameChg chg="mod">
          <ac:chgData name="Meyer Raphael (PAR-ES)" userId="79615dfe-ed48-4e74-a40f-4f7b034c1c27" providerId="ADAL" clId="{50B11D1E-3C98-42A5-AC2C-CB81D3349B72}" dt="2021-05-25T14:15:17.600" v="124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cxnChg chg="add mod ord">
          <ac:chgData name="Meyer Raphael (PAR-ES)" userId="79615dfe-ed48-4e74-a40f-4f7b034c1c27" providerId="ADAL" clId="{50B11D1E-3C98-42A5-AC2C-CB81D3349B72}" dt="2021-05-25T14:17:45.285" v="172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">
        <pc:chgData name="Meyer Raphael (PAR-ES)" userId="79615dfe-ed48-4e74-a40f-4f7b034c1c27" providerId="ADAL" clId="{50B11D1E-3C98-42A5-AC2C-CB81D3349B72}" dt="2021-05-25T13:44:31.437" v="5" actId="27918"/>
        <pc:sldMkLst>
          <pc:docMk/>
          <pc:sldMk cId="1667945532" sldId="306"/>
        </pc:sldMkLst>
      </pc:sldChg>
      <pc:sldChg chg="mod">
        <pc:chgData name="Meyer Raphael (PAR-ES)" userId="79615dfe-ed48-4e74-a40f-4f7b034c1c27" providerId="ADAL" clId="{50B11D1E-3C98-42A5-AC2C-CB81D3349B72}" dt="2021-05-25T14:03:31.785" v="28" actId="27918"/>
        <pc:sldMkLst>
          <pc:docMk/>
          <pc:sldMk cId="3480515475" sldId="357"/>
        </pc:sldMkLst>
      </pc:sldChg>
    </pc:docChg>
  </pc:docChgLst>
  <pc:docChgLst>
    <pc:chgData name="Meyer Raphael (PAR-ES)" userId="79615dfe-ed48-4e74-a40f-4f7b034c1c27" providerId="ADAL" clId="{C3A857A9-D187-4A8A-B6CF-844B098D50BB}"/>
    <pc:docChg chg="modSld">
      <pc:chgData name="Meyer Raphael (PAR-ES)" userId="79615dfe-ed48-4e74-a40f-4f7b034c1c27" providerId="ADAL" clId="{C3A857A9-D187-4A8A-B6CF-844B098D50BB}" dt="2021-10-01T08:23:54.667" v="44" actId="20577"/>
      <pc:docMkLst>
        <pc:docMk/>
      </pc:docMkLst>
      <pc:sldChg chg="modSp mod">
        <pc:chgData name="Meyer Raphael (PAR-ES)" userId="79615dfe-ed48-4e74-a40f-4f7b034c1c27" providerId="ADAL" clId="{C3A857A9-D187-4A8A-B6CF-844B098D50BB}" dt="2021-10-01T08:23:24.970" v="37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C3A857A9-D187-4A8A-B6CF-844B098D50BB}" dt="2021-10-01T08:23:24.970" v="37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44.823" v="41" actId="20577"/>
        <pc:sldMkLst>
          <pc:docMk/>
          <pc:sldMk cId="3590012689" sldId="365"/>
        </pc:sldMkLst>
        <pc:graphicFrameChg chg="mod modGraphic">
          <ac:chgData name="Meyer Raphael (PAR-ES)" userId="79615dfe-ed48-4e74-a40f-4f7b034c1c27" providerId="ADAL" clId="{C3A857A9-D187-4A8A-B6CF-844B098D50BB}" dt="2021-10-01T08:23:44.823" v="41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">
        <pc:chgData name="Meyer Raphael (PAR-ES)" userId="79615dfe-ed48-4e74-a40f-4f7b034c1c27" providerId="ADAL" clId="{C3A857A9-D187-4A8A-B6CF-844B098D50BB}" dt="2021-10-01T08:23:54.667" v="44" actId="20577"/>
        <pc:sldMkLst>
          <pc:docMk/>
          <pc:sldMk cId="689864941" sldId="366"/>
        </pc:sldMkLst>
        <pc:graphicFrameChg chg="mod modGraphic">
          <ac:chgData name="Meyer Raphael (PAR-ES)" userId="79615dfe-ed48-4e74-a40f-4f7b034c1c27" providerId="ADAL" clId="{C3A857A9-D187-4A8A-B6CF-844B098D50BB}" dt="2021-10-01T08:23:54.667" v="44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92EE8BAC-19AC-48CE-A3E5-4ED76E0D1882}"/>
    <pc:docChg chg="undo custSel addSld delSld modSld sldOrd">
      <pc:chgData name="Meyer Raphael (PAR-ES)" userId="79615dfe-ed48-4e74-a40f-4f7b034c1c27" providerId="ADAL" clId="{92EE8BAC-19AC-48CE-A3E5-4ED76E0D1882}" dt="2021-10-13T12:34:09.248" v="467" actId="1037"/>
      <pc:docMkLst>
        <pc:docMk/>
      </pc:docMkLst>
      <pc:sldChg chg="ord">
        <pc:chgData name="Meyer Raphael (PAR-ES)" userId="79615dfe-ed48-4e74-a40f-4f7b034c1c27" providerId="ADAL" clId="{92EE8BAC-19AC-48CE-A3E5-4ED76E0D1882}" dt="2021-10-13T09:03:17.145" v="2"/>
        <pc:sldMkLst>
          <pc:docMk/>
          <pc:sldMk cId="3137099422" sldId="358"/>
        </pc:sldMkLst>
      </pc:sldChg>
      <pc:sldChg chg="addSp modSp mod ord">
        <pc:chgData name="Meyer Raphael (PAR-ES)" userId="79615dfe-ed48-4e74-a40f-4f7b034c1c27" providerId="ADAL" clId="{92EE8BAC-19AC-48CE-A3E5-4ED76E0D1882}" dt="2021-10-13T10:00:48.591" v="106"/>
        <pc:sldMkLst>
          <pc:docMk/>
          <pc:sldMk cId="3462026173" sldId="370"/>
        </pc:sldMkLst>
        <pc:spChg chg="mod">
          <ac:chgData name="Meyer Raphael (PAR-ES)" userId="79615dfe-ed48-4e74-a40f-4f7b034c1c27" providerId="ADAL" clId="{92EE8BAC-19AC-48CE-A3E5-4ED76E0D1882}" dt="2021-10-13T09:46:36.418" v="67" actId="1037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09:46:11.568" v="3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09:46:27.703" v="57" actId="1038"/>
          <ac:spMkLst>
            <pc:docMk/>
            <pc:sldMk cId="3462026173" sldId="370"/>
            <ac:spMk id="13" creationId="{B946C02A-50DE-42C7-A209-D603829BA4B1}"/>
          </ac:spMkLst>
        </pc:spChg>
        <pc:graphicFrameChg chg="mod">
          <ac:chgData name="Meyer Raphael (PAR-ES)" userId="79615dfe-ed48-4e74-a40f-4f7b034c1c27" providerId="ADAL" clId="{92EE8BAC-19AC-48CE-A3E5-4ED76E0D1882}" dt="2021-10-13T09:55:21.606" v="72" actId="1957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cxnChg chg="mod">
          <ac:chgData name="Meyer Raphael (PAR-ES)" userId="79615dfe-ed48-4e74-a40f-4f7b034c1c27" providerId="ADAL" clId="{92EE8BAC-19AC-48CE-A3E5-4ED76E0D1882}" dt="2021-10-13T09:46:36.418" v="67" actId="1037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09:46:27.703" v="57" actId="1038"/>
          <ac:cxnSpMkLst>
            <pc:docMk/>
            <pc:sldMk cId="3462026173" sldId="370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0:00:48.591" v="106"/>
          <ac:cxnSpMkLst>
            <pc:docMk/>
            <pc:sldMk cId="3462026173" sldId="370"/>
            <ac:cxnSpMk id="14" creationId="{D95E97EF-7343-45BB-A526-4AD2D1ED8B53}"/>
          </ac:cxnSpMkLst>
        </pc:cxnChg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259040757" sldId="371"/>
        </pc:sldMkLst>
      </pc:sldChg>
      <pc:sldChg chg="add mod ord">
        <pc:chgData name="Meyer Raphael (PAR-ES)" userId="79615dfe-ed48-4e74-a40f-4f7b034c1c27" providerId="ADAL" clId="{92EE8BAC-19AC-48CE-A3E5-4ED76E0D1882}" dt="2021-10-13T09:43:09.868" v="27"/>
        <pc:sldMkLst>
          <pc:docMk/>
          <pc:sldMk cId="1661015866" sldId="372"/>
        </pc:sldMkLst>
      </pc:sldChg>
      <pc:sldChg chg="addSp delSp modSp add mod">
        <pc:chgData name="Meyer Raphael (PAR-ES)" userId="79615dfe-ed48-4e74-a40f-4f7b034c1c27" providerId="ADAL" clId="{92EE8BAC-19AC-48CE-A3E5-4ED76E0D1882}" dt="2021-10-13T12:34:09.248" v="467" actId="1037"/>
        <pc:sldMkLst>
          <pc:docMk/>
          <pc:sldMk cId="1537997412" sldId="373"/>
        </pc:sldMkLst>
        <pc:spChg chg="del mod">
          <ac:chgData name="Meyer Raphael (PAR-ES)" userId="79615dfe-ed48-4e74-a40f-4f7b034c1c27" providerId="ADAL" clId="{92EE8BAC-19AC-48CE-A3E5-4ED76E0D1882}" dt="2021-10-13T11:42:34.763" v="419" actId="478"/>
          <ac:spMkLst>
            <pc:docMk/>
            <pc:sldMk cId="1537997412" sldId="373"/>
            <ac:spMk id="3" creationId="{C8768AF4-4D23-49CA-95CE-2763BC39243D}"/>
          </ac:spMkLst>
        </pc:spChg>
        <pc:spChg chg="add mod">
          <ac:chgData name="Meyer Raphael (PAR-ES)" userId="79615dfe-ed48-4e74-a40f-4f7b034c1c27" providerId="ADAL" clId="{92EE8BAC-19AC-48CE-A3E5-4ED76E0D1882}" dt="2021-10-13T11:38:42.234" v="373" actId="1076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92EE8BAC-19AC-48CE-A3E5-4ED76E0D1882}" dt="2021-10-13T12:34:09.248" v="467" actId="1037"/>
          <ac:spMkLst>
            <pc:docMk/>
            <pc:sldMk cId="1537997412" sldId="373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92EE8BAC-19AC-48CE-A3E5-4ED76E0D1882}" dt="2021-10-13T11:39:47.336" v="382" actId="1037"/>
          <ac:spMkLst>
            <pc:docMk/>
            <pc:sldMk cId="1537997412" sldId="373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92EE8BAC-19AC-48CE-A3E5-4ED76E0D1882}" dt="2021-10-13T12:31:58.875" v="447" actId="1038"/>
          <ac:spMkLst>
            <pc:docMk/>
            <pc:sldMk cId="1537997412" sldId="373"/>
            <ac:spMk id="13" creationId="{B946C02A-50DE-42C7-A209-D603829BA4B1}"/>
          </ac:spMkLst>
        </pc:spChg>
        <pc:spChg chg="mod">
          <ac:chgData name="Meyer Raphael (PAR-ES)" userId="79615dfe-ed48-4e74-a40f-4f7b034c1c27" providerId="ADAL" clId="{92EE8BAC-19AC-48CE-A3E5-4ED76E0D1882}" dt="2021-10-13T11:40:13.724" v="406" actId="1076"/>
          <ac:spMkLst>
            <pc:docMk/>
            <pc:sldMk cId="1537997412" sldId="373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92EE8BAC-19AC-48CE-A3E5-4ED76E0D1882}" dt="2021-10-13T11:38:37.844" v="372" actId="14100"/>
          <ac:spMkLst>
            <pc:docMk/>
            <pc:sldMk cId="1537997412" sldId="373"/>
            <ac:spMk id="24" creationId="{FD07A55C-6879-4E52-B5A8-38679864E2FC}"/>
          </ac:spMkLst>
        </pc:spChg>
        <pc:spChg chg="add mod">
          <ac:chgData name="Meyer Raphael (PAR-ES)" userId="79615dfe-ed48-4e74-a40f-4f7b034c1c27" providerId="ADAL" clId="{92EE8BAC-19AC-48CE-A3E5-4ED76E0D1882}" dt="2021-10-13T11:42:30.740" v="418" actId="1076"/>
          <ac:spMkLst>
            <pc:docMk/>
            <pc:sldMk cId="1537997412" sldId="373"/>
            <ac:spMk id="30" creationId="{4F4C31ED-0414-44F1-B84F-EA8394C10C0D}"/>
          </ac:spMkLst>
        </pc:spChg>
        <pc:graphicFrameChg chg="mod">
          <ac:chgData name="Meyer Raphael (PAR-ES)" userId="79615dfe-ed48-4e74-a40f-4f7b034c1c27" providerId="ADAL" clId="{92EE8BAC-19AC-48CE-A3E5-4ED76E0D1882}" dt="2021-10-13T12:28:40.842" v="443" actId="14861"/>
          <ac:graphicFrameMkLst>
            <pc:docMk/>
            <pc:sldMk cId="1537997412" sldId="373"/>
            <ac:graphicFrameMk id="10" creationId="{E856299E-9B60-478F-8674-1045505692C4}"/>
          </ac:graphicFrameMkLst>
        </pc:graphicFrameChg>
        <pc:graphicFrameChg chg="add del mod">
          <ac:chgData name="Meyer Raphael (PAR-ES)" userId="79615dfe-ed48-4e74-a40f-4f7b034c1c27" providerId="ADAL" clId="{92EE8BAC-19AC-48CE-A3E5-4ED76E0D1882}" dt="2021-10-13T09:59:11.458" v="82"/>
          <ac:graphicFrameMkLst>
            <pc:docMk/>
            <pc:sldMk cId="1537997412" sldId="373"/>
            <ac:graphicFrameMk id="14" creationId="{C010D2CE-C18D-43C8-BF44-8266881F7200}"/>
          </ac:graphicFrameMkLst>
        </pc:graphicFrameChg>
        <pc:cxnChg chg="add del mod">
          <ac:chgData name="Meyer Raphael (PAR-ES)" userId="79615dfe-ed48-4e74-a40f-4f7b034c1c27" providerId="ADAL" clId="{92EE8BAC-19AC-48CE-A3E5-4ED76E0D1882}" dt="2021-10-13T11:31:20.606" v="270" actId="478"/>
          <ac:cxnSpMkLst>
            <pc:docMk/>
            <pc:sldMk cId="1537997412" sldId="373"/>
            <ac:cxnSpMk id="4" creationId="{FB3627E6-B32F-4AC4-AE77-7C757B307C49}"/>
          </ac:cxnSpMkLst>
        </pc:cxnChg>
        <pc:cxnChg chg="mod">
          <ac:chgData name="Meyer Raphael (PAR-ES)" userId="79615dfe-ed48-4e74-a40f-4f7b034c1c27" providerId="ADAL" clId="{92EE8BAC-19AC-48CE-A3E5-4ED76E0D1882}" dt="2021-10-13T12:34:09.248" v="467" actId="1037"/>
          <ac:cxnSpMkLst>
            <pc:docMk/>
            <pc:sldMk cId="1537997412" sldId="373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92EE8BAC-19AC-48CE-A3E5-4ED76E0D1882}" dt="2021-10-13T12:31:58.875" v="447" actId="1038"/>
          <ac:cxnSpMkLst>
            <pc:docMk/>
            <pc:sldMk cId="1537997412" sldId="373"/>
            <ac:cxnSpMk id="11" creationId="{A9B79FFE-7EB4-42F9-AF46-169C3E5C72D5}"/>
          </ac:cxnSpMkLst>
        </pc:cxnChg>
        <pc:cxnChg chg="add mod">
          <ac:chgData name="Meyer Raphael (PAR-ES)" userId="79615dfe-ed48-4e74-a40f-4f7b034c1c27" providerId="ADAL" clId="{92EE8BAC-19AC-48CE-A3E5-4ED76E0D1882}" dt="2021-10-13T11:34:12.585" v="309" actId="1037"/>
          <ac:cxnSpMkLst>
            <pc:docMk/>
            <pc:sldMk cId="1537997412" sldId="373"/>
            <ac:cxnSpMk id="15" creationId="{0799A6FE-48F2-42FE-8723-6D0DDE6ED073}"/>
          </ac:cxnSpMkLst>
        </pc:cxnChg>
        <pc:cxnChg chg="add mod">
          <ac:chgData name="Meyer Raphael (PAR-ES)" userId="79615dfe-ed48-4e74-a40f-4f7b034c1c27" providerId="ADAL" clId="{92EE8BAC-19AC-48CE-A3E5-4ED76E0D1882}" dt="2021-10-13T11:38:21.166" v="371" actId="1036"/>
          <ac:cxnSpMkLst>
            <pc:docMk/>
            <pc:sldMk cId="1537997412" sldId="373"/>
            <ac:cxnSpMk id="17" creationId="{ADB86D40-94DA-4EA6-A13C-F322B879613C}"/>
          </ac:cxnSpMkLst>
        </pc:cxnChg>
        <pc:cxnChg chg="add mod">
          <ac:chgData name="Meyer Raphael (PAR-ES)" userId="79615dfe-ed48-4e74-a40f-4f7b034c1c27" providerId="ADAL" clId="{92EE8BAC-19AC-48CE-A3E5-4ED76E0D1882}" dt="2021-10-13T11:37:46.107" v="319" actId="14100"/>
          <ac:cxnSpMkLst>
            <pc:docMk/>
            <pc:sldMk cId="1537997412" sldId="373"/>
            <ac:cxnSpMk id="21" creationId="{70B5456D-B5DD-4516-B6A3-B39AEE671B52}"/>
          </ac:cxnSpMkLst>
        </pc:cxnChg>
      </pc:sldChg>
      <pc:sldChg chg="modSp add del">
        <pc:chgData name="Meyer Raphael (PAR-ES)" userId="79615dfe-ed48-4e74-a40f-4f7b034c1c27" providerId="ADAL" clId="{92EE8BAC-19AC-48CE-A3E5-4ED76E0D1882}" dt="2021-10-13T10:03:11.163" v="109" actId="2696"/>
        <pc:sldMkLst>
          <pc:docMk/>
          <pc:sldMk cId="2833047153" sldId="374"/>
        </pc:sldMkLst>
        <pc:graphicFrameChg chg="mod">
          <ac:chgData name="Meyer Raphael (PAR-ES)" userId="79615dfe-ed48-4e74-a40f-4f7b034c1c27" providerId="ADAL" clId="{92EE8BAC-19AC-48CE-A3E5-4ED76E0D1882}" dt="2021-10-13T10:02:35.351" v="108" actId="1957"/>
          <ac:graphicFrameMkLst>
            <pc:docMk/>
            <pc:sldMk cId="2833047153" sldId="374"/>
            <ac:graphicFrameMk id="10" creationId="{E856299E-9B60-478F-8674-1045505692C4}"/>
          </ac:graphicFrameMkLst>
        </pc:graphicFrameChg>
      </pc:sldChg>
    </pc:docChg>
  </pc:docChgLst>
  <pc:docChgLst>
    <pc:chgData name="Meyer Raphael (PAR-ES)" userId="79615dfe-ed48-4e74-a40f-4f7b034c1c27" providerId="ADAL" clId="{10982BC3-D958-4B41-9357-68E9BDD6C909}"/>
    <pc:docChg chg="delSld">
      <pc:chgData name="Meyer Raphael (PAR-ES)" userId="79615dfe-ed48-4e74-a40f-4f7b034c1c27" providerId="ADAL" clId="{10982BC3-D958-4B41-9357-68E9BDD6C909}" dt="2021-11-02T14:17:15.877" v="0" actId="47"/>
      <pc:docMkLst>
        <pc:docMk/>
      </pc:docMkLst>
      <pc:sldChg chg="del">
        <pc:chgData name="Meyer Raphael (PAR-ES)" userId="79615dfe-ed48-4e74-a40f-4f7b034c1c27" providerId="ADAL" clId="{10982BC3-D958-4B41-9357-68E9BDD6C909}" dt="2021-11-02T14:17:15.877" v="0" actId="47"/>
        <pc:sldMkLst>
          <pc:docMk/>
          <pc:sldMk cId="1199121354" sldId="417"/>
        </pc:sldMkLst>
      </pc:sldChg>
    </pc:docChg>
  </pc:docChgLst>
  <pc:docChgLst>
    <pc:chgData name="Meyer Raphael (PAR-ES)" userId="79615dfe-ed48-4e74-a40f-4f7b034c1c27" providerId="ADAL" clId="{DC91381E-864F-40AA-BEAC-05CB62171E30}"/>
    <pc:docChg chg="modSld">
      <pc:chgData name="Meyer Raphael (PAR-ES)" userId="79615dfe-ed48-4e74-a40f-4f7b034c1c27" providerId="ADAL" clId="{DC91381E-864F-40AA-BEAC-05CB62171E30}" dt="2022-02-21T13:25:42.447" v="74"/>
      <pc:docMkLst>
        <pc:docMk/>
      </pc:docMkLst>
      <pc:sldChg chg="modSp mod">
        <pc:chgData name="Meyer Raphael (PAR-ES)" userId="79615dfe-ed48-4e74-a40f-4f7b034c1c27" providerId="ADAL" clId="{DC91381E-864F-40AA-BEAC-05CB62171E30}" dt="2022-02-21T13:19:21.727" v="20"/>
        <pc:sldMkLst>
          <pc:docMk/>
          <pc:sldMk cId="4185400525" sldId="404"/>
        </pc:sldMkLst>
        <pc:spChg chg="mod">
          <ac:chgData name="Meyer Raphael (PAR-ES)" userId="79615dfe-ed48-4e74-a40f-4f7b034c1c27" providerId="ADAL" clId="{DC91381E-864F-40AA-BEAC-05CB62171E30}" dt="2022-02-21T13:17:14.648" v="2" actId="20577"/>
          <ac:spMkLst>
            <pc:docMk/>
            <pc:sldMk cId="4185400525" sldId="404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25.384" v="3"/>
          <ac:spMkLst>
            <pc:docMk/>
            <pc:sldMk cId="4185400525" sldId="404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7:34.759" v="4"/>
          <ac:spMkLst>
            <pc:docMk/>
            <pc:sldMk cId="4185400525" sldId="404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19:21.727" v="20"/>
          <ac:spMkLst>
            <pc:docMk/>
            <pc:sldMk cId="4185400525" sldId="404"/>
            <ac:spMk id="11" creationId="{651B01CC-189F-4F80-9403-B5172C1D5545}"/>
          </ac:spMkLst>
        </pc:spChg>
        <pc:graphicFrameChg chg="mod">
          <ac:chgData name="Meyer Raphael (PAR-ES)" userId="79615dfe-ed48-4e74-a40f-4f7b034c1c27" providerId="ADAL" clId="{DC91381E-864F-40AA-BEAC-05CB62171E30}" dt="2022-02-21T13:18:50.349" v="19"/>
          <ac:graphicFrameMkLst>
            <pc:docMk/>
            <pc:sldMk cId="4185400525" sldId="404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18:28.792" v="14"/>
          <ac:graphicFrameMkLst>
            <pc:docMk/>
            <pc:sldMk cId="4185400525" sldId="404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3:07.829" v="51"/>
        <pc:sldMkLst>
          <pc:docMk/>
          <pc:sldMk cId="2617506047" sldId="405"/>
        </pc:sldMkLst>
        <pc:spChg chg="mod">
          <ac:chgData name="Meyer Raphael (PAR-ES)" userId="79615dfe-ed48-4e74-a40f-4f7b034c1c27" providerId="ADAL" clId="{DC91381E-864F-40AA-BEAC-05CB62171E30}" dt="2022-02-21T13:20:20.500" v="23" actId="20577"/>
          <ac:spMkLst>
            <pc:docMk/>
            <pc:sldMk cId="2617506047" sldId="405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29.812" v="24"/>
          <ac:spMkLst>
            <pc:docMk/>
            <pc:sldMk cId="2617506047" sldId="405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0:39.685" v="25"/>
          <ac:spMkLst>
            <pc:docMk/>
            <pc:sldMk cId="2617506047" sldId="405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3:07.829" v="51"/>
          <ac:spMkLst>
            <pc:docMk/>
            <pc:sldMk cId="2617506047" sldId="405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0:48.737" v="31" actId="20577"/>
          <ac:spMkLst>
            <pc:docMk/>
            <pc:sldMk cId="2617506047" sldId="405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2:34.826" v="47"/>
          <ac:graphicFrameMkLst>
            <pc:docMk/>
            <pc:sldMk cId="2617506047" sldId="405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2:44.839" v="50"/>
          <ac:graphicFrameMkLst>
            <pc:docMk/>
            <pc:sldMk cId="2617506047" sldId="405"/>
            <ac:graphicFrameMk id="9" creationId="{00000000-0000-0000-0000-000000000000}"/>
          </ac:graphicFrameMkLst>
        </pc:graphicFrameChg>
      </pc:sldChg>
      <pc:sldChg chg="modSp mod">
        <pc:chgData name="Meyer Raphael (PAR-ES)" userId="79615dfe-ed48-4e74-a40f-4f7b034c1c27" providerId="ADAL" clId="{DC91381E-864F-40AA-BEAC-05CB62171E30}" dt="2022-02-21T13:25:42.447" v="74"/>
        <pc:sldMkLst>
          <pc:docMk/>
          <pc:sldMk cId="943556213" sldId="406"/>
        </pc:sldMkLst>
        <pc:spChg chg="mod">
          <ac:chgData name="Meyer Raphael (PAR-ES)" userId="79615dfe-ed48-4e74-a40f-4f7b034c1c27" providerId="ADAL" clId="{DC91381E-864F-40AA-BEAC-05CB62171E30}" dt="2022-02-21T13:24:14.470" v="54" actId="20577"/>
          <ac:spMkLst>
            <pc:docMk/>
            <pc:sldMk cId="943556213" sldId="406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24.391" v="55"/>
          <ac:spMkLst>
            <pc:docMk/>
            <pc:sldMk cId="943556213" sldId="406"/>
            <ac:spMk id="4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4:32.772" v="56"/>
          <ac:spMkLst>
            <pc:docMk/>
            <pc:sldMk cId="943556213" sldId="406"/>
            <ac:spMk id="10" creationId="{00000000-0000-0000-0000-000000000000}"/>
          </ac:spMkLst>
        </pc:spChg>
        <pc:spChg chg="mod">
          <ac:chgData name="Meyer Raphael (PAR-ES)" userId="79615dfe-ed48-4e74-a40f-4f7b034c1c27" providerId="ADAL" clId="{DC91381E-864F-40AA-BEAC-05CB62171E30}" dt="2022-02-21T13:25:33.433" v="72"/>
          <ac:spMkLst>
            <pc:docMk/>
            <pc:sldMk cId="943556213" sldId="406"/>
            <ac:spMk id="11" creationId="{651B01CC-189F-4F80-9403-B5172C1D5545}"/>
          </ac:spMkLst>
        </pc:spChg>
        <pc:spChg chg="mod">
          <ac:chgData name="Meyer Raphael (PAR-ES)" userId="79615dfe-ed48-4e74-a40f-4f7b034c1c27" providerId="ADAL" clId="{DC91381E-864F-40AA-BEAC-05CB62171E30}" dt="2022-02-21T13:25:07.644" v="68" actId="20577"/>
          <ac:spMkLst>
            <pc:docMk/>
            <pc:sldMk cId="943556213" sldId="406"/>
            <ac:spMk id="12" creationId="{CC84096C-90C8-4FA1-B23B-21F5936F9AB5}"/>
          </ac:spMkLst>
        </pc:spChg>
        <pc:graphicFrameChg chg="mod">
          <ac:chgData name="Meyer Raphael (PAR-ES)" userId="79615dfe-ed48-4e74-a40f-4f7b034c1c27" providerId="ADAL" clId="{DC91381E-864F-40AA-BEAC-05CB62171E30}" dt="2022-02-21T13:25:42.447" v="74"/>
          <ac:graphicFrameMkLst>
            <pc:docMk/>
            <pc:sldMk cId="943556213" sldId="406"/>
            <ac:graphicFrameMk id="6" creationId="{00000000-0000-0000-0000-000000000000}"/>
          </ac:graphicFrameMkLst>
        </pc:graphicFrameChg>
        <pc:graphicFrameChg chg="mod">
          <ac:chgData name="Meyer Raphael (PAR-ES)" userId="79615dfe-ed48-4e74-a40f-4f7b034c1c27" providerId="ADAL" clId="{DC91381E-864F-40AA-BEAC-05CB62171E30}" dt="2022-02-21T13:25:00.885" v="62"/>
          <ac:graphicFrameMkLst>
            <pc:docMk/>
            <pc:sldMk cId="943556213" sldId="406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39874381-8D5F-4C40-BD22-D0192665E6B5}"/>
    <pc:docChg chg="modSld">
      <pc:chgData name="Meyer Raphael (PAR-ES)" userId="79615dfe-ed48-4e74-a40f-4f7b034c1c27" providerId="ADAL" clId="{39874381-8D5F-4C40-BD22-D0192665E6B5}" dt="2021-10-29T08:18:00.949" v="52" actId="1037"/>
      <pc:docMkLst>
        <pc:docMk/>
      </pc:docMkLst>
      <pc:sldChg chg="modSp mod">
        <pc:chgData name="Meyer Raphael (PAR-ES)" userId="79615dfe-ed48-4e74-a40f-4f7b034c1c27" providerId="ADAL" clId="{39874381-8D5F-4C40-BD22-D0192665E6B5}" dt="2021-10-29T08:17:23.674" v="37" actId="1037"/>
        <pc:sldMkLst>
          <pc:docMk/>
          <pc:sldMk cId="2343299233" sldId="374"/>
        </pc:sldMkLst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23.674" v="37" actId="1037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39874381-8D5F-4C40-BD22-D0192665E6B5}" dt="2021-10-29T08:13:21.218" v="11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23.674" v="37" actId="1037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7:45.301" v="45" actId="1038"/>
        <pc:sldMkLst>
          <pc:docMk/>
          <pc:sldMk cId="3759573184" sldId="375"/>
        </pc:sldMkLst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7:45.301" v="45" actId="1038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6.792" v="17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7:45.301" v="45" actId="1038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39874381-8D5F-4C40-BD22-D0192665E6B5}" dt="2021-10-29T08:18:00.949" v="52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39874381-8D5F-4C40-BD22-D0192665E6B5}" dt="2021-10-29T08:18:00.949" v="52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39874381-8D5F-4C40-BD22-D0192665E6B5}" dt="2021-10-29T08:13:41.506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39874381-8D5F-4C40-BD22-D0192665E6B5}" dt="2021-10-29T08:18:00.949" v="52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S)" userId="fd3b2067-2981-4ad8-bf3a-d2e1004e4fa8" providerId="ADAL" clId="{54EC38D1-D1ED-4413-AF89-B689DB72A17F}"/>
    <pc:docChg chg="modSld">
      <pc:chgData name="Weigel Stefan (PAR-ES)" userId="fd3b2067-2981-4ad8-bf3a-d2e1004e4fa8" providerId="ADAL" clId="{54EC38D1-D1ED-4413-AF89-B689DB72A17F}" dt="2023-02-01T07:48:01.362" v="46" actId="207"/>
      <pc:docMkLst>
        <pc:docMk/>
      </pc:docMkLst>
      <pc:sldChg chg="modSp mod">
        <pc:chgData name="Weigel Stefan (PAR-ES)" userId="fd3b2067-2981-4ad8-bf3a-d2e1004e4fa8" providerId="ADAL" clId="{54EC38D1-D1ED-4413-AF89-B689DB72A17F}" dt="2023-02-01T07:48:01.362" v="46" actId="207"/>
        <pc:sldMkLst>
          <pc:docMk/>
          <pc:sldMk cId="3808035539" sldId="270"/>
        </pc:sldMkLst>
        <pc:spChg chg="mod">
          <ac:chgData name="Weigel Stefan (PAR-ES)" userId="fd3b2067-2981-4ad8-bf3a-d2e1004e4fa8" providerId="ADAL" clId="{54EC38D1-D1ED-4413-AF89-B689DB72A17F}" dt="2023-02-01T07:22:07.615" v="18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S)" userId="fd3b2067-2981-4ad8-bf3a-d2e1004e4fa8" providerId="ADAL" clId="{54EC38D1-D1ED-4413-AF89-B689DB72A17F}" dt="2023-02-01T07:22:28.047" v="35" actId="20577"/>
          <ac:spMkLst>
            <pc:docMk/>
            <pc:sldMk cId="3808035539" sldId="270"/>
            <ac:spMk id="12" creationId="{5951AA1F-1F78-4199-A377-9885C86C21AF}"/>
          </ac:spMkLst>
        </pc:spChg>
        <pc:graphicFrameChg chg="mod">
          <ac:chgData name="Weigel Stefan (PAR-ES)" userId="fd3b2067-2981-4ad8-bf3a-d2e1004e4fa8" providerId="ADAL" clId="{54EC38D1-D1ED-4413-AF89-B689DB72A17F}" dt="2023-02-01T07:48:01.362" v="46" actId="207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Weigel Stefan (PAR-ES)" userId="fd3b2067-2981-4ad8-bf3a-d2e1004e4fa8" providerId="ADAL" clId="{810092A7-32AC-41E8-9C31-9700D54B766C}"/>
    <pc:docChg chg="modSld">
      <pc:chgData name="Weigel Stefan (PAR-ES)" userId="fd3b2067-2981-4ad8-bf3a-d2e1004e4fa8" providerId="ADAL" clId="{810092A7-32AC-41E8-9C31-9700D54B766C}" dt="2021-09-03T09:16:09.993" v="613" actId="1038"/>
      <pc:docMkLst>
        <pc:docMk/>
      </pc:docMkLst>
      <pc:sldChg chg="modSp mod">
        <pc:chgData name="Weigel Stefan (PAR-ES)" userId="fd3b2067-2981-4ad8-bf3a-d2e1004e4fa8" providerId="ADAL" clId="{810092A7-32AC-41E8-9C31-9700D54B766C}" dt="2021-09-03T09:13:19.810" v="559" actId="1038"/>
        <pc:sldMkLst>
          <pc:docMk/>
          <pc:sldMk cId="1495152177" sldId="298"/>
        </pc:sldMkLst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3:19.810" v="559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15.777" v="531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3:19.810" v="559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4:42.160" v="585" actId="1038"/>
        <pc:sldMkLst>
          <pc:docMk/>
          <pc:sldMk cId="3590012689" sldId="365"/>
        </pc:sldMkLst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4:42.160" v="585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26.410" v="532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4:42.160" v="585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Weigel Stefan (PAR-ES)" userId="fd3b2067-2981-4ad8-bf3a-d2e1004e4fa8" providerId="ADAL" clId="{810092A7-32AC-41E8-9C31-9700D54B766C}" dt="2021-09-03T09:16:09.993" v="613" actId="1038"/>
        <pc:sldMkLst>
          <pc:docMk/>
          <pc:sldMk cId="689864941" sldId="366"/>
        </pc:sldMkLst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Weigel Stefan (PAR-ES)" userId="fd3b2067-2981-4ad8-bf3a-d2e1004e4fa8" providerId="ADAL" clId="{810092A7-32AC-41E8-9C31-9700D54B766C}" dt="2021-09-03T09:16:09.993" v="613" actId="1038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Weigel Stefan (PAR-ES)" userId="fd3b2067-2981-4ad8-bf3a-d2e1004e4fa8" providerId="ADAL" clId="{810092A7-32AC-41E8-9C31-9700D54B766C}" dt="2021-09-03T09:10:31.293" v="533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Weigel Stefan (PAR-ES)" userId="fd3b2067-2981-4ad8-bf3a-d2e1004e4fa8" providerId="ADAL" clId="{810092A7-32AC-41E8-9C31-9700D54B766C}" dt="2021-09-03T09:16:09.993" v="613" actId="1038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BBB1A706-ED97-4FE3-A763-5C40A5C5E6DA}"/>
    <pc:docChg chg="custSel addSld delSld modSld sldOrd">
      <pc:chgData name="Meyer Raphael (PAR-ES)" userId="79615dfe-ed48-4e74-a40f-4f7b034c1c27" providerId="ADAL" clId="{BBB1A706-ED97-4FE3-A763-5C40A5C5E6DA}" dt="2021-04-01T06:53:05.185" v="95" actId="27918"/>
      <pc:docMkLst>
        <pc:docMk/>
      </pc:docMkLst>
      <pc:sldChg chg="modSp mod">
        <pc:chgData name="Meyer Raphael (PAR-ES)" userId="79615dfe-ed48-4e74-a40f-4f7b034c1c27" providerId="ADAL" clId="{BBB1A706-ED97-4FE3-A763-5C40A5C5E6DA}" dt="2021-04-01T06:53:05.185" v="95" actId="27918"/>
        <pc:sldMkLst>
          <pc:docMk/>
          <pc:sldMk cId="1667945532" sldId="306"/>
        </pc:sldMkLst>
        <pc:spChg chg="mod">
          <ac:chgData name="Meyer Raphael (PAR-ES)" userId="79615dfe-ed48-4e74-a40f-4f7b034c1c27" providerId="ADAL" clId="{BBB1A706-ED97-4FE3-A763-5C40A5C5E6DA}" dt="2021-04-01T06:45:09.863" v="38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BBB1A706-ED97-4FE3-A763-5C40A5C5E6DA}" dt="2021-04-01T06:45:12.935" v="40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BBB1A706-ED97-4FE3-A763-5C40A5C5E6DA}" dt="2021-04-01T06:42:38.023" v="17" actId="20577"/>
          <ac:spMkLst>
            <pc:docMk/>
            <pc:sldMk cId="1667945532" sldId="306"/>
            <ac:spMk id="31" creationId="{7491A47D-CAD4-478D-8F3A-296FFCB799F9}"/>
          </ac:spMkLst>
        </pc:spChg>
      </pc:sldChg>
      <pc:sldChg chg="del">
        <pc:chgData name="Meyer Raphael (PAR-ES)" userId="79615dfe-ed48-4e74-a40f-4f7b034c1c27" providerId="ADAL" clId="{BBB1A706-ED97-4FE3-A763-5C40A5C5E6DA}" dt="2021-04-01T06:49:45.726" v="72" actId="2696"/>
        <pc:sldMkLst>
          <pc:docMk/>
          <pc:sldMk cId="205331994" sldId="340"/>
        </pc:sldMkLst>
      </pc:sldChg>
      <pc:sldChg chg="del">
        <pc:chgData name="Meyer Raphael (PAR-ES)" userId="79615dfe-ed48-4e74-a40f-4f7b034c1c27" providerId="ADAL" clId="{BBB1A706-ED97-4FE3-A763-5C40A5C5E6DA}" dt="2021-04-01T06:51:41.230" v="81" actId="2696"/>
        <pc:sldMkLst>
          <pc:docMk/>
          <pc:sldMk cId="3020850231" sldId="341"/>
        </pc:sldMkLst>
      </pc:sldChg>
      <pc:sldChg chg="addSp delSp modSp add mod ord">
        <pc:chgData name="Meyer Raphael (PAR-ES)" userId="79615dfe-ed48-4e74-a40f-4f7b034c1c27" providerId="ADAL" clId="{BBB1A706-ED97-4FE3-A763-5C40A5C5E6DA}" dt="2021-04-01T06:49:21.365" v="71"/>
        <pc:sldMkLst>
          <pc:docMk/>
          <pc:sldMk cId="2400256824" sldId="342"/>
        </pc:sldMkLst>
        <pc:spChg chg="mod">
          <ac:chgData name="Meyer Raphael (PAR-ES)" userId="79615dfe-ed48-4e74-a40f-4f7b034c1c27" providerId="ADAL" clId="{BBB1A706-ED97-4FE3-A763-5C40A5C5E6DA}" dt="2021-04-01T06:48:21.854" v="65"/>
          <ac:spMkLst>
            <pc:docMk/>
            <pc:sldMk cId="2400256824" sldId="34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49:04.849" v="70" actId="14100"/>
          <ac:spMkLst>
            <pc:docMk/>
            <pc:sldMk cId="2400256824" sldId="34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48:29.914" v="66"/>
          <ac:spMkLst>
            <pc:docMk/>
            <pc:sldMk cId="2400256824" sldId="34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1" creationId="{41184D5F-FBBF-4CD3-B75D-763BCF9F6AB5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2" creationId="{AE1BFC7B-96D4-49BC-AF45-A7209D376ACE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3" creationId="{E1D06205-E8E0-4170-9E41-59DD1AD15781}"/>
          </ac:spMkLst>
        </pc:spChg>
        <pc:spChg chg="add mod">
          <ac:chgData name="Meyer Raphael (PAR-ES)" userId="79615dfe-ed48-4e74-a40f-4f7b034c1c27" providerId="ADAL" clId="{BBB1A706-ED97-4FE3-A763-5C40A5C5E6DA}" dt="2021-04-01T06:48:54.428" v="68"/>
          <ac:spMkLst>
            <pc:docMk/>
            <pc:sldMk cId="2400256824" sldId="342"/>
            <ac:spMk id="25" creationId="{9A5F5775-CBDF-482E-B9BE-416BC6E92517}"/>
          </ac:spMkLst>
        </pc:spChg>
        <pc:spChg chg="del">
          <ac:chgData name="Meyer Raphael (PAR-ES)" userId="79615dfe-ed48-4e74-a40f-4f7b034c1c27" providerId="ADAL" clId="{BBB1A706-ED97-4FE3-A763-5C40A5C5E6DA}" dt="2021-04-01T06:48:40.174" v="67" actId="478"/>
          <ac:spMkLst>
            <pc:docMk/>
            <pc:sldMk cId="2400256824" sldId="34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49:21.365" v="71"/>
          <ac:spMkLst>
            <pc:docMk/>
            <pc:sldMk cId="2400256824" sldId="342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BBB1A706-ED97-4FE3-A763-5C40A5C5E6DA}" dt="2021-04-01T06:50:52.022" v="80" actId="14100"/>
        <pc:sldMkLst>
          <pc:docMk/>
          <pc:sldMk cId="684558250" sldId="343"/>
        </pc:sldMkLst>
        <pc:spChg chg="mod">
          <ac:chgData name="Meyer Raphael (PAR-ES)" userId="79615dfe-ed48-4e74-a40f-4f7b034c1c27" providerId="ADAL" clId="{BBB1A706-ED97-4FE3-A763-5C40A5C5E6DA}" dt="2021-04-01T06:50:20.052" v="75"/>
          <ac:spMkLst>
            <pc:docMk/>
            <pc:sldMk cId="684558250" sldId="34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BBB1A706-ED97-4FE3-A763-5C40A5C5E6DA}" dt="2021-04-01T06:50:38.479" v="78" actId="14100"/>
          <ac:spMkLst>
            <pc:docMk/>
            <pc:sldMk cId="684558250" sldId="34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BBB1A706-ED97-4FE3-A763-5C40A5C5E6DA}" dt="2021-04-01T06:50:29.235" v="76"/>
          <ac:spMkLst>
            <pc:docMk/>
            <pc:sldMk cId="684558250" sldId="34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1" creationId="{EE24A48E-A591-46C5-9789-694EC6B9510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2" creationId="{C5B0A92E-1DBA-4171-BB2B-45DB22E436BD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3" creationId="{ECA89489-F401-4596-8DF3-789301017FA9}"/>
          </ac:spMkLst>
        </pc:spChg>
        <pc:spChg chg="add mod">
          <ac:chgData name="Meyer Raphael (PAR-ES)" userId="79615dfe-ed48-4e74-a40f-4f7b034c1c27" providerId="ADAL" clId="{BBB1A706-ED97-4FE3-A763-5C40A5C5E6DA}" dt="2021-04-01T06:50:07.783" v="74"/>
          <ac:spMkLst>
            <pc:docMk/>
            <pc:sldMk cId="684558250" sldId="343"/>
            <ac:spMk id="25" creationId="{F70186C3-6432-4C78-8474-9E1B8C2E3799}"/>
          </ac:spMkLst>
        </pc:spChg>
        <pc:spChg chg="del">
          <ac:chgData name="Meyer Raphael (PAR-ES)" userId="79615dfe-ed48-4e74-a40f-4f7b034c1c27" providerId="ADAL" clId="{BBB1A706-ED97-4FE3-A763-5C40A5C5E6DA}" dt="2021-04-01T06:49:55.546" v="73" actId="478"/>
          <ac:spMkLst>
            <pc:docMk/>
            <pc:sldMk cId="684558250" sldId="34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BBB1A706-ED97-4FE3-A763-5C40A5C5E6DA}" dt="2021-04-01T06:50:52.022" v="80" actId="14100"/>
          <ac:spMkLst>
            <pc:docMk/>
            <pc:sldMk cId="684558250" sldId="343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712858C-16EF-4F56-A99A-2501A98C8650}"/>
    <pc:docChg chg="undo custSel addSld modSld">
      <pc:chgData name="Meyer Raphael (PAR-ES)" userId="79615dfe-ed48-4e74-a40f-4f7b034c1c27" providerId="ADAL" clId="{0712858C-16EF-4F56-A99A-2501A98C8650}" dt="2021-10-07T13:56:46.888" v="380" actId="20577"/>
      <pc:docMkLst>
        <pc:docMk/>
      </pc:docMkLst>
      <pc:sldChg chg="addSp modSp mod">
        <pc:chgData name="Meyer Raphael (PAR-ES)" userId="79615dfe-ed48-4e74-a40f-4f7b034c1c27" providerId="ADAL" clId="{0712858C-16EF-4F56-A99A-2501A98C8650}" dt="2021-10-07T10:57:43.139" v="165" actId="1038"/>
        <pc:sldMkLst>
          <pc:docMk/>
          <pc:sldMk cId="2479672112" sldId="369"/>
        </pc:sldMkLst>
        <pc:spChg chg="mod ord">
          <ac:chgData name="Meyer Raphael (PAR-ES)" userId="79615dfe-ed48-4e74-a40f-4f7b034c1c27" providerId="ADAL" clId="{0712858C-16EF-4F56-A99A-2501A98C8650}" dt="2021-10-07T10:57:33.740" v="84" actId="166"/>
          <ac:spMkLst>
            <pc:docMk/>
            <pc:sldMk cId="2479672112" sldId="369"/>
            <ac:spMk id="6" creationId="{0EEE4EA3-E16E-424B-97F9-53A8F5D585AE}"/>
          </ac:spMkLst>
        </pc:spChg>
        <pc:spChg chg="add mod">
          <ac:chgData name="Meyer Raphael (PAR-ES)" userId="79615dfe-ed48-4e74-a40f-4f7b034c1c27" providerId="ADAL" clId="{0712858C-16EF-4F56-A99A-2501A98C8650}" dt="2021-10-07T10:57:43.139" v="165" actId="1038"/>
          <ac:spMkLst>
            <pc:docMk/>
            <pc:sldMk cId="2479672112" sldId="369"/>
            <ac:spMk id="16" creationId="{3730218D-3B66-4C1D-8690-924989D01B0B}"/>
          </ac:spMkLst>
        </pc:spChg>
        <pc:graphicFrameChg chg="mod">
          <ac:chgData name="Meyer Raphael (PAR-ES)" userId="79615dfe-ed48-4e74-a40f-4f7b034c1c27" providerId="ADAL" clId="{0712858C-16EF-4F56-A99A-2501A98C8650}" dt="2021-10-07T10:56:31.888" v="4" actId="1076"/>
          <ac:graphicFrameMkLst>
            <pc:docMk/>
            <pc:sldMk cId="2479672112" sldId="369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0712858C-16EF-4F56-A99A-2501A98C8650}" dt="2021-10-07T10:57:14.295" v="83" actId="166"/>
          <ac:graphicFrameMkLst>
            <pc:docMk/>
            <pc:sldMk cId="2479672112" sldId="369"/>
            <ac:graphicFrameMk id="14" creationId="{448E30CC-0B60-4748-AEB6-C3648EB8AB40}"/>
          </ac:graphicFrameMkLst>
        </pc:graphicFrameChg>
      </pc:sldChg>
      <pc:sldChg chg="addSp delSp modSp add mod">
        <pc:chgData name="Meyer Raphael (PAR-ES)" userId="79615dfe-ed48-4e74-a40f-4f7b034c1c27" providerId="ADAL" clId="{0712858C-16EF-4F56-A99A-2501A98C8650}" dt="2021-10-07T13:56:46.888" v="380" actId="20577"/>
        <pc:sldMkLst>
          <pc:docMk/>
          <pc:sldMk cId="3462026173" sldId="370"/>
        </pc:sldMkLst>
        <pc:spChg chg="del mod">
          <ac:chgData name="Meyer Raphael (PAR-ES)" userId="79615dfe-ed48-4e74-a40f-4f7b034c1c27" providerId="ADAL" clId="{0712858C-16EF-4F56-A99A-2501A98C8650}" dt="2021-10-07T13:54:42.877" v="258" actId="478"/>
          <ac:spMkLst>
            <pc:docMk/>
            <pc:sldMk cId="3462026173" sldId="370"/>
            <ac:spMk id="2" creationId="{72711E6E-1416-465E-9A46-D62B6B2FD2A4}"/>
          </ac:spMkLst>
        </pc:spChg>
        <pc:spChg chg="mod">
          <ac:chgData name="Meyer Raphael (PAR-ES)" userId="79615dfe-ed48-4e74-a40f-4f7b034c1c27" providerId="ADAL" clId="{0712858C-16EF-4F56-A99A-2501A98C8650}" dt="2021-10-07T13:53:58.982" v="228" actId="6549"/>
          <ac:spMkLst>
            <pc:docMk/>
            <pc:sldMk cId="3462026173" sldId="370"/>
            <ac:spMk id="3" creationId="{C8768AF4-4D23-49CA-95CE-2763BC39243D}"/>
          </ac:spMkLst>
        </pc:spChg>
        <pc:spChg chg="mod">
          <ac:chgData name="Meyer Raphael (PAR-ES)" userId="79615dfe-ed48-4e74-a40f-4f7b034c1c27" providerId="ADAL" clId="{0712858C-16EF-4F56-A99A-2501A98C8650}" dt="2021-10-07T13:53:44.810" v="227" actId="1076"/>
          <ac:spMkLst>
            <pc:docMk/>
            <pc:sldMk cId="3462026173" sldId="370"/>
            <ac:spMk id="9" creationId="{42AA12ED-4579-4FE5-A07A-BC01B76928FB}"/>
          </ac:spMkLst>
        </pc:spChg>
        <pc:spChg chg="mod">
          <ac:chgData name="Meyer Raphael (PAR-ES)" userId="79615dfe-ed48-4e74-a40f-4f7b034c1c27" providerId="ADAL" clId="{0712858C-16EF-4F56-A99A-2501A98C8650}" dt="2021-10-07T13:52:27.066" v="182" actId="1076"/>
          <ac:spMkLst>
            <pc:docMk/>
            <pc:sldMk cId="3462026173" sldId="370"/>
            <ac:spMk id="12" creationId="{4DA2B71E-2CC2-4C38-BAAB-A71345A07B83}"/>
          </ac:spMkLst>
        </pc:spChg>
        <pc:spChg chg="mod">
          <ac:chgData name="Meyer Raphael (PAR-ES)" userId="79615dfe-ed48-4e74-a40f-4f7b034c1c27" providerId="ADAL" clId="{0712858C-16EF-4F56-A99A-2501A98C8650}" dt="2021-10-07T13:53:00.737" v="190" actId="1076"/>
          <ac:spMkLst>
            <pc:docMk/>
            <pc:sldMk cId="3462026173" sldId="370"/>
            <ac:spMk id="13" creationId="{B946C02A-50DE-42C7-A209-D603829BA4B1}"/>
          </ac:spMkLst>
        </pc:spChg>
        <pc:spChg chg="add del mod">
          <ac:chgData name="Meyer Raphael (PAR-ES)" userId="79615dfe-ed48-4e74-a40f-4f7b034c1c27" providerId="ADAL" clId="{0712858C-16EF-4F56-A99A-2501A98C8650}" dt="2021-10-07T13:54:52.282" v="261" actId="478"/>
          <ac:spMkLst>
            <pc:docMk/>
            <pc:sldMk cId="3462026173" sldId="370"/>
            <ac:spMk id="16" creationId="{CF108DDD-12CA-4DEF-8E2E-F43DE1FB0B06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7" creationId="{8C7C0310-CDAE-47DA-8551-E1C76E010A8B}"/>
          </ac:spMkLst>
        </pc:spChg>
        <pc:spChg chg="add del mod">
          <ac:chgData name="Meyer Raphael (PAR-ES)" userId="79615dfe-ed48-4e74-a40f-4f7b034c1c27" providerId="ADAL" clId="{0712858C-16EF-4F56-A99A-2501A98C8650}" dt="2021-10-07T13:54:47.554" v="260"/>
          <ac:spMkLst>
            <pc:docMk/>
            <pc:sldMk cId="3462026173" sldId="370"/>
            <ac:spMk id="18" creationId="{4FB579AC-665E-4EE6-BB19-C3D3977CC220}"/>
          </ac:spMkLst>
        </pc:spChg>
        <pc:spChg chg="add mod">
          <ac:chgData name="Meyer Raphael (PAR-ES)" userId="79615dfe-ed48-4e74-a40f-4f7b034c1c27" providerId="ADAL" clId="{0712858C-16EF-4F56-A99A-2501A98C8650}" dt="2021-10-07T13:55:47.688" v="324" actId="20577"/>
          <ac:spMkLst>
            <pc:docMk/>
            <pc:sldMk cId="3462026173" sldId="370"/>
            <ac:spMk id="19" creationId="{9FB4AF3B-D5AD-4F53-ABB0-E4CE1F5D8E5E}"/>
          </ac:spMkLst>
        </pc:spChg>
        <pc:spChg chg="add mod">
          <ac:chgData name="Meyer Raphael (PAR-ES)" userId="79615dfe-ed48-4e74-a40f-4f7b034c1c27" providerId="ADAL" clId="{0712858C-16EF-4F56-A99A-2501A98C8650}" dt="2021-10-07T13:56:46.888" v="380" actId="20577"/>
          <ac:spMkLst>
            <pc:docMk/>
            <pc:sldMk cId="3462026173" sldId="370"/>
            <ac:spMk id="20" creationId="{6D955C95-B626-44C6-B064-0754E67E37CF}"/>
          </ac:spMkLst>
        </pc:spChg>
        <pc:graphicFrameChg chg="add mod">
          <ac:chgData name="Meyer Raphael (PAR-ES)" userId="79615dfe-ed48-4e74-a40f-4f7b034c1c27" providerId="ADAL" clId="{0712858C-16EF-4F56-A99A-2501A98C8650}" dt="2021-10-07T13:53:07.540" v="192" actId="1076"/>
          <ac:graphicFrameMkLst>
            <pc:docMk/>
            <pc:sldMk cId="3462026173" sldId="370"/>
            <ac:graphicFrameMk id="10" creationId="{E856299E-9B60-478F-8674-1045505692C4}"/>
          </ac:graphicFrameMkLst>
        </pc:graphicFrameChg>
        <pc:picChg chg="del">
          <ac:chgData name="Meyer Raphael (PAR-ES)" userId="79615dfe-ed48-4e74-a40f-4f7b034c1c27" providerId="ADAL" clId="{0712858C-16EF-4F56-A99A-2501A98C8650}" dt="2021-10-07T13:48:23.805" v="167" actId="478"/>
          <ac:picMkLst>
            <pc:docMk/>
            <pc:sldMk cId="3462026173" sldId="370"/>
            <ac:picMk id="15" creationId="{55BD0271-4DD3-43E3-A3B9-E8F00535D21A}"/>
          </ac:picMkLst>
        </pc:picChg>
        <pc:cxnChg chg="mod">
          <ac:chgData name="Meyer Raphael (PAR-ES)" userId="79615dfe-ed48-4e74-a40f-4f7b034c1c27" providerId="ADAL" clId="{0712858C-16EF-4F56-A99A-2501A98C8650}" dt="2021-10-07T13:53:32.433" v="225" actId="14100"/>
          <ac:cxnSpMkLst>
            <pc:docMk/>
            <pc:sldMk cId="3462026173" sldId="370"/>
            <ac:cxnSpMk id="7" creationId="{D77902D2-9169-4095-AF09-B1A9DB2A7B74}"/>
          </ac:cxnSpMkLst>
        </pc:cxnChg>
        <pc:cxnChg chg="mod">
          <ac:chgData name="Meyer Raphael (PAR-ES)" userId="79615dfe-ed48-4e74-a40f-4f7b034c1c27" providerId="ADAL" clId="{0712858C-16EF-4F56-A99A-2501A98C8650}" dt="2021-10-07T13:53:36.676" v="226" actId="14100"/>
          <ac:cxnSpMkLst>
            <pc:docMk/>
            <pc:sldMk cId="3462026173" sldId="370"/>
            <ac:cxnSpMk id="11" creationId="{A9B79FFE-7EB4-42F9-AF46-169C3E5C72D5}"/>
          </ac:cxnSpMkLst>
        </pc:cxnChg>
      </pc:sldChg>
    </pc:docChg>
  </pc:docChgLst>
  <pc:docChgLst>
    <pc:chgData name="Meyer Raphael (PAR-ES)" userId="79615dfe-ed48-4e74-a40f-4f7b034c1c27" providerId="ADAL" clId="{8F7AFD01-8FC7-4C21-BC24-E6066722842E}"/>
    <pc:docChg chg="delSld">
      <pc:chgData name="Meyer Raphael (PAR-ES)" userId="79615dfe-ed48-4e74-a40f-4f7b034c1c27" providerId="ADAL" clId="{8F7AFD01-8FC7-4C21-BC24-E6066722842E}" dt="2021-06-15T07:22:54.651" v="6" actId="2696"/>
      <pc:docMkLst>
        <pc:docMk/>
      </pc:docMkLst>
      <pc:sldChg chg="del">
        <pc:chgData name="Meyer Raphael (PAR-ES)" userId="79615dfe-ed48-4e74-a40f-4f7b034c1c27" providerId="ADAL" clId="{8F7AFD01-8FC7-4C21-BC24-E6066722842E}" dt="2021-06-15T07:22:09.401" v="1" actId="2696"/>
        <pc:sldMkLst>
          <pc:docMk/>
          <pc:sldMk cId="342226240" sldId="295"/>
        </pc:sldMkLst>
      </pc:sldChg>
      <pc:sldChg chg="del">
        <pc:chgData name="Meyer Raphael (PAR-ES)" userId="79615dfe-ed48-4e74-a40f-4f7b034c1c27" providerId="ADAL" clId="{8F7AFD01-8FC7-4C21-BC24-E6066722842E}" dt="2021-06-15T07:22:54.651" v="6" actId="2696"/>
        <pc:sldMkLst>
          <pc:docMk/>
          <pc:sldMk cId="1492035608" sldId="296"/>
        </pc:sldMkLst>
      </pc:sldChg>
      <pc:sldChg chg="del">
        <pc:chgData name="Meyer Raphael (PAR-ES)" userId="79615dfe-ed48-4e74-a40f-4f7b034c1c27" providerId="ADAL" clId="{8F7AFD01-8FC7-4C21-BC24-E6066722842E}" dt="2021-06-15T07:22:03.263" v="0" actId="2696"/>
        <pc:sldMkLst>
          <pc:docMk/>
          <pc:sldMk cId="1670059232" sldId="297"/>
        </pc:sldMkLst>
      </pc:sldChg>
      <pc:sldChg chg="del">
        <pc:chgData name="Meyer Raphael (PAR-ES)" userId="79615dfe-ed48-4e74-a40f-4f7b034c1c27" providerId="ADAL" clId="{8F7AFD01-8FC7-4C21-BC24-E6066722842E}" dt="2021-06-15T07:22:18.041" v="2" actId="2696"/>
        <pc:sldMkLst>
          <pc:docMk/>
          <pc:sldMk cId="1794381502" sldId="301"/>
        </pc:sldMkLst>
      </pc:sldChg>
      <pc:sldChg chg="del">
        <pc:chgData name="Meyer Raphael (PAR-ES)" userId="79615dfe-ed48-4e74-a40f-4f7b034c1c27" providerId="ADAL" clId="{8F7AFD01-8FC7-4C21-BC24-E6066722842E}" dt="2021-06-15T07:22:26.902" v="4" actId="2696"/>
        <pc:sldMkLst>
          <pc:docMk/>
          <pc:sldMk cId="2829123890" sldId="302"/>
        </pc:sldMkLst>
      </pc:sldChg>
      <pc:sldChg chg="del">
        <pc:chgData name="Meyer Raphael (PAR-ES)" userId="79615dfe-ed48-4e74-a40f-4f7b034c1c27" providerId="ADAL" clId="{8F7AFD01-8FC7-4C21-BC24-E6066722842E}" dt="2021-06-15T07:22:31.797" v="5" actId="2696"/>
        <pc:sldMkLst>
          <pc:docMk/>
          <pc:sldMk cId="220263692" sldId="303"/>
        </pc:sldMkLst>
      </pc:sldChg>
      <pc:sldChg chg="del">
        <pc:chgData name="Meyer Raphael (PAR-ES)" userId="79615dfe-ed48-4e74-a40f-4f7b034c1c27" providerId="ADAL" clId="{8F7AFD01-8FC7-4C21-BC24-E6066722842E}" dt="2021-06-15T07:22:23.185" v="3" actId="2696"/>
        <pc:sldMkLst>
          <pc:docMk/>
          <pc:sldMk cId="4199929677" sldId="304"/>
        </pc:sldMkLst>
      </pc:sldChg>
    </pc:docChg>
  </pc:docChgLst>
  <pc:docChgLst>
    <pc:chgData name="Meyer Raphael (PAR-ES)" userId="79615dfe-ed48-4e74-a40f-4f7b034c1c27" providerId="ADAL" clId="{6FC2220F-25B4-483E-8E4F-9E2FCA818304}"/>
    <pc:docChg chg="undo custSel modSld">
      <pc:chgData name="Meyer Raphael (PAR-ES)" userId="79615dfe-ed48-4e74-a40f-4f7b034c1c27" providerId="ADAL" clId="{6FC2220F-25B4-483E-8E4F-9E2FCA818304}" dt="2021-10-25T08:17:44.179" v="1021" actId="20577"/>
      <pc:docMkLst>
        <pc:docMk/>
      </pc:docMkLst>
      <pc:sldChg chg="modSp mod">
        <pc:chgData name="Meyer Raphael (PAR-ES)" userId="79615dfe-ed48-4e74-a40f-4f7b034c1c27" providerId="ADAL" clId="{6FC2220F-25B4-483E-8E4F-9E2FCA818304}" dt="2021-10-22T07:15:02.229" v="6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02.229" v="6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6FC2220F-25B4-483E-8E4F-9E2FCA818304}" dt="2021-10-22T07:09:35.961" v="9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02.229" v="6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39.555" v="77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39.555" v="77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09:58.641" v="12" actId="20577"/>
          <ac:graphicFrameMkLst>
            <pc:docMk/>
            <pc:sldMk cId="3759573184" sldId="375"/>
            <ac:graphicFrameMk id="11" creationId="{622F4C5D-EB92-4061-B40F-47BBCBF5D8BD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39.555" v="77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6FC2220F-25B4-483E-8E4F-9E2FCA818304}" dt="2021-10-22T07:15:49.707" v="87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6FC2220F-25B4-483E-8E4F-9E2FCA818304}" dt="2021-10-22T07:15:49.707" v="87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6FC2220F-25B4-483E-8E4F-9E2FCA818304}" dt="2021-10-22T07:10:06.131" v="15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6FC2220F-25B4-483E-8E4F-9E2FCA818304}" dt="2021-10-22T07:15:49.707" v="87" actId="1037"/>
          <ac:cxnSpMkLst>
            <pc:docMk/>
            <pc:sldMk cId="3027727826" sldId="376"/>
            <ac:cxnSpMk id="8" creationId="{6F3EB9D3-E612-42D9-859B-1905BD876C26}"/>
          </ac:cxnSpMkLst>
        </pc:cxnChg>
      </pc:sldChg>
      <pc:sldChg chg="addSp modSp mod">
        <pc:chgData name="Meyer Raphael (PAR-ES)" userId="79615dfe-ed48-4e74-a40f-4f7b034c1c27" providerId="ADAL" clId="{6FC2220F-25B4-483E-8E4F-9E2FCA818304}" dt="2021-10-25T07:43:51.061" v="868" actId="207"/>
        <pc:sldMkLst>
          <pc:docMk/>
          <pc:sldMk cId="1199121354" sldId="417"/>
        </pc:sldMkLst>
        <pc:spChg chg="add mod">
          <ac:chgData name="Meyer Raphael (PAR-ES)" userId="79615dfe-ed48-4e74-a40f-4f7b034c1c27" providerId="ADAL" clId="{6FC2220F-25B4-483E-8E4F-9E2FCA818304}" dt="2021-10-25T07:43:03.494" v="867" actId="1038"/>
          <ac:spMkLst>
            <pc:docMk/>
            <pc:sldMk cId="1199121354" sldId="417"/>
            <ac:spMk id="2" creationId="{D3072831-C6C5-4500-82D9-A4E697E149D4}"/>
          </ac:spMkLst>
        </pc:spChg>
        <pc:spChg chg="add mod">
          <ac:chgData name="Meyer Raphael (PAR-ES)" userId="79615dfe-ed48-4e74-a40f-4f7b034c1c27" providerId="ADAL" clId="{6FC2220F-25B4-483E-8E4F-9E2FCA818304}" dt="2021-10-25T07:43:51.061" v="868" actId="207"/>
          <ac:spMkLst>
            <pc:docMk/>
            <pc:sldMk cId="1199121354" sldId="417"/>
            <ac:spMk id="3" creationId="{73840E3E-6FD1-4C1A-8277-0FABBAB9146A}"/>
          </ac:spMkLst>
        </pc:spChg>
        <pc:spChg chg="add mod">
          <ac:chgData name="Meyer Raphael (PAR-ES)" userId="79615dfe-ed48-4e74-a40f-4f7b034c1c27" providerId="ADAL" clId="{6FC2220F-25B4-483E-8E4F-9E2FCA818304}" dt="2021-10-25T07:42:20.793" v="514" actId="1037"/>
          <ac:spMkLst>
            <pc:docMk/>
            <pc:sldMk cId="1199121354" sldId="417"/>
            <ac:spMk id="21" creationId="{DF06278D-3932-4CB6-A54D-3F3BA8DFD03F}"/>
          </ac:spMkLst>
        </pc:spChg>
      </pc:sldChg>
      <pc:sldChg chg="addSp modSp mod">
        <pc:chgData name="Meyer Raphael (PAR-ES)" userId="79615dfe-ed48-4e74-a40f-4f7b034c1c27" providerId="ADAL" clId="{6FC2220F-25B4-483E-8E4F-9E2FCA818304}" dt="2021-10-25T08:13:48.600" v="1007" actId="20577"/>
        <pc:sldMkLst>
          <pc:docMk/>
          <pc:sldMk cId="200941906" sldId="419"/>
        </pc:sldMkLst>
        <pc:spChg chg="add mod">
          <ac:chgData name="Meyer Raphael (PAR-ES)" userId="79615dfe-ed48-4e74-a40f-4f7b034c1c27" providerId="ADAL" clId="{6FC2220F-25B4-483E-8E4F-9E2FCA818304}" dt="2021-10-25T08:13:48.600" v="1007" actId="20577"/>
          <ac:spMkLst>
            <pc:docMk/>
            <pc:sldMk cId="200941906" sldId="419"/>
            <ac:spMk id="19" creationId="{C9D68B27-6022-4C1D-A210-C0037BB4C784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0" creationId="{F24A071D-DF83-4BD8-A0DF-CECD20705BCD}"/>
          </ac:spMkLst>
        </pc:spChg>
        <pc:spChg chg="add mod">
          <ac:chgData name="Meyer Raphael (PAR-ES)" userId="79615dfe-ed48-4e74-a40f-4f7b034c1c27" providerId="ADAL" clId="{6FC2220F-25B4-483E-8E4F-9E2FCA818304}" dt="2021-10-25T07:46:37.595" v="919" actId="1037"/>
          <ac:spMkLst>
            <pc:docMk/>
            <pc:sldMk cId="200941906" sldId="419"/>
            <ac:spMk id="21" creationId="{FE118A8E-FAC4-48F2-B7D7-7F6392382158}"/>
          </ac:spMkLst>
        </pc:spChg>
      </pc:sldChg>
      <pc:sldChg chg="addSp delSp modSp mod">
        <pc:chgData name="Meyer Raphael (PAR-ES)" userId="79615dfe-ed48-4e74-a40f-4f7b034c1c27" providerId="ADAL" clId="{6FC2220F-25B4-483E-8E4F-9E2FCA818304}" dt="2021-10-25T08:17:44.179" v="1021" actId="20577"/>
        <pc:sldMkLst>
          <pc:docMk/>
          <pc:sldMk cId="3299254992" sldId="420"/>
        </pc:sldMkLst>
        <pc:spChg chg="add del">
          <ac:chgData name="Meyer Raphael (PAR-ES)" userId="79615dfe-ed48-4e74-a40f-4f7b034c1c27" providerId="ADAL" clId="{6FC2220F-25B4-483E-8E4F-9E2FCA818304}" dt="2021-10-25T07:52:17.577" v="922" actId="22"/>
          <ac:spMkLst>
            <pc:docMk/>
            <pc:sldMk cId="3299254992" sldId="420"/>
            <ac:spMk id="20" creationId="{D6244E50-AB50-40E7-8547-F26FCA7CF3A4}"/>
          </ac:spMkLst>
        </pc:spChg>
        <pc:spChg chg="add mod">
          <ac:chgData name="Meyer Raphael (PAR-ES)" userId="79615dfe-ed48-4e74-a40f-4f7b034c1c27" providerId="ADAL" clId="{6FC2220F-25B4-483E-8E4F-9E2FCA818304}" dt="2021-10-25T08:17:44.179" v="1021" actId="20577"/>
          <ac:spMkLst>
            <pc:docMk/>
            <pc:sldMk cId="3299254992" sldId="420"/>
            <ac:spMk id="21" creationId="{4B90160B-6648-45BB-A5C3-EB5B31E56152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2" creationId="{CFE96C0C-1138-4465-9CE6-8A98790C1BC3}"/>
          </ac:spMkLst>
        </pc:spChg>
        <pc:spChg chg="add mod">
          <ac:chgData name="Meyer Raphael (PAR-ES)" userId="79615dfe-ed48-4e74-a40f-4f7b034c1c27" providerId="ADAL" clId="{6FC2220F-25B4-483E-8E4F-9E2FCA818304}" dt="2021-10-25T07:53:01.205" v="968" actId="1038"/>
          <ac:spMkLst>
            <pc:docMk/>
            <pc:sldMk cId="3299254992" sldId="420"/>
            <ac:spMk id="23" creationId="{BFF0EC26-A771-4DBD-AB84-6E94F4A5A085}"/>
          </ac:spMkLst>
        </pc:spChg>
      </pc:sldChg>
    </pc:docChg>
  </pc:docChgLst>
  <pc:docChgLst>
    <pc:chgData name="Meyer Raphael (PAR-ES)" userId="79615dfe-ed48-4e74-a40f-4f7b034c1c27" providerId="ADAL" clId="{40A9BA90-785D-4DA2-BADF-77C405BC64A0}"/>
    <pc:docChg chg="undo custSel addSld delSld modSld sldOrd">
      <pc:chgData name="Meyer Raphael (PAR-ES)" userId="79615dfe-ed48-4e74-a40f-4f7b034c1c27" providerId="ADAL" clId="{40A9BA90-785D-4DA2-BADF-77C405BC64A0}" dt="2021-06-15T14:51:50.820" v="274"/>
      <pc:docMkLst>
        <pc:docMk/>
      </pc:docMkLst>
      <pc:sldChg chg="modSp mod">
        <pc:chgData name="Meyer Raphael (PAR-ES)" userId="79615dfe-ed48-4e74-a40f-4f7b034c1c27" providerId="ADAL" clId="{40A9BA90-785D-4DA2-BADF-77C405BC64A0}" dt="2021-06-15T14:37:09.270" v="158" actId="554"/>
        <pc:sldMkLst>
          <pc:docMk/>
          <pc:sldMk cId="1495152177" sldId="298"/>
        </pc:sldMkLst>
        <pc:spChg chg="mod">
          <ac:chgData name="Meyer Raphael (PAR-ES)" userId="79615dfe-ed48-4e74-a40f-4f7b034c1c27" providerId="ADAL" clId="{40A9BA90-785D-4DA2-BADF-77C405BC64A0}" dt="2021-06-15T14:29:25.246" v="81" actId="1036"/>
          <ac:spMkLst>
            <pc:docMk/>
            <pc:sldMk cId="1495152177" sldId="298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29:45.581" v="85" actId="1076"/>
          <ac:spMkLst>
            <pc:docMk/>
            <pc:sldMk cId="1495152177" sldId="298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A9BA90-785D-4DA2-BADF-77C405BC64A0}" dt="2021-06-15T14:37:09.270" v="158" actId="554"/>
          <ac:spMkLst>
            <pc:docMk/>
            <pc:sldMk cId="1495152177" sldId="298"/>
            <ac:spMk id="13" creationId="{93412675-62AA-41D8-997C-4E877ED953A8}"/>
          </ac:spMkLst>
        </pc:spChg>
        <pc:graphicFrameChg chg="mod">
          <ac:chgData name="Meyer Raphael (PAR-ES)" userId="79615dfe-ed48-4e74-a40f-4f7b034c1c27" providerId="ADAL" clId="{40A9BA90-785D-4DA2-BADF-77C405BC64A0}" dt="2021-06-15T14:34:18.871" v="132" actId="693"/>
          <ac:graphicFrameMkLst>
            <pc:docMk/>
            <pc:sldMk cId="1495152177" sldId="298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40A9BA90-785D-4DA2-BADF-77C405BC64A0}" dt="2021-06-15T14:29:54.178" v="105" actId="1036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A9BA90-785D-4DA2-BADF-77C405BC64A0}" dt="2021-06-15T14:35:14.473" v="157" actId="1037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del ord">
        <pc:chgData name="Meyer Raphael (PAR-ES)" userId="79615dfe-ed48-4e74-a40f-4f7b034c1c27" providerId="ADAL" clId="{40A9BA90-785D-4DA2-BADF-77C405BC64A0}" dt="2021-06-15T14:49:08.825" v="261" actId="47"/>
        <pc:sldMkLst>
          <pc:docMk/>
          <pc:sldMk cId="1559304935" sldId="363"/>
        </pc:sldMkLst>
        <pc:graphicFrameChg chg="mod">
          <ac:chgData name="Meyer Raphael (PAR-ES)" userId="79615dfe-ed48-4e74-a40f-4f7b034c1c27" providerId="ADAL" clId="{40A9BA90-785D-4DA2-BADF-77C405BC64A0}" dt="2021-06-15T14:32:38.587" v="131" actId="693"/>
          <ac:graphicFrameMkLst>
            <pc:docMk/>
            <pc:sldMk cId="1559304935" sldId="363"/>
            <ac:graphicFrameMk id="5" creationId="{4CF6AB8B-CAB9-4C7E-8E59-E00357A4D7F0}"/>
          </ac:graphicFrameMkLst>
        </pc:graphicFrameChg>
      </pc:sldChg>
      <pc:sldChg chg="del ord">
        <pc:chgData name="Meyer Raphael (PAR-ES)" userId="79615dfe-ed48-4e74-a40f-4f7b034c1c27" providerId="ADAL" clId="{40A9BA90-785D-4DA2-BADF-77C405BC64A0}" dt="2021-06-15T14:50:31.407" v="267" actId="47"/>
        <pc:sldMkLst>
          <pc:docMk/>
          <pc:sldMk cId="2043265091" sldId="364"/>
        </pc:sldMkLst>
      </pc:sldChg>
      <pc:sldChg chg="addSp delSp modSp add mod">
        <pc:chgData name="Meyer Raphael (PAR-ES)" userId="79615dfe-ed48-4e74-a40f-4f7b034c1c27" providerId="ADAL" clId="{40A9BA90-785D-4DA2-BADF-77C405BC64A0}" dt="2021-06-15T14:48:56.292" v="260" actId="207"/>
        <pc:sldMkLst>
          <pc:docMk/>
          <pc:sldMk cId="3590012689" sldId="365"/>
        </pc:sldMkLst>
        <pc:spChg chg="mod">
          <ac:chgData name="Meyer Raphael (PAR-ES)" userId="79615dfe-ed48-4e74-a40f-4f7b034c1c27" providerId="ADAL" clId="{40A9BA90-785D-4DA2-BADF-77C405BC64A0}" dt="2021-06-15T14:37:59.791" v="165"/>
          <ac:spMkLst>
            <pc:docMk/>
            <pc:sldMk cId="3590012689" sldId="365"/>
            <ac:spMk id="2" creationId="{A2DC317F-F1F4-4624-8FC1-3B68C1DBB3DA}"/>
          </ac:spMkLst>
        </pc:spChg>
        <pc:spChg chg="add del mod">
          <ac:chgData name="Meyer Raphael (PAR-ES)" userId="79615dfe-ed48-4e74-a40f-4f7b034c1c27" providerId="ADAL" clId="{40A9BA90-785D-4DA2-BADF-77C405BC64A0}" dt="2021-06-15T14:39:22.852" v="179" actId="1076"/>
          <ac:spMkLst>
            <pc:docMk/>
            <pc:sldMk cId="3590012689" sldId="365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40A9BA90-785D-4DA2-BADF-77C405BC64A0}" dt="2021-06-15T14:43:13.625" v="241"/>
          <ac:spMkLst>
            <pc:docMk/>
            <pc:sldMk cId="3590012689" sldId="365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38:08.944" v="166"/>
          <ac:spMkLst>
            <pc:docMk/>
            <pc:sldMk cId="3590012689" sldId="365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48:56.292" v="260" actId="207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48:47.852" v="259" actId="13926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picChg chg="add del mod">
          <ac:chgData name="Meyer Raphael (PAR-ES)" userId="79615dfe-ed48-4e74-a40f-4f7b034c1c27" providerId="ADAL" clId="{40A9BA90-785D-4DA2-BADF-77C405BC64A0}" dt="2021-06-15T14:39:17.961" v="177"/>
          <ac:picMkLst>
            <pc:docMk/>
            <pc:sldMk cId="3590012689" sldId="365"/>
            <ac:picMk id="4" creationId="{A0221F0E-0FD9-413C-9DD8-9D1190B2427C}"/>
          </ac:picMkLst>
        </pc:picChg>
        <pc:picChg chg="add del mod">
          <ac:chgData name="Meyer Raphael (PAR-ES)" userId="79615dfe-ed48-4e74-a40f-4f7b034c1c27" providerId="ADAL" clId="{40A9BA90-785D-4DA2-BADF-77C405BC64A0}" dt="2021-06-15T14:42:39.552" v="240" actId="478"/>
          <ac:picMkLst>
            <pc:docMk/>
            <pc:sldMk cId="3590012689" sldId="365"/>
            <ac:picMk id="11" creationId="{7AB9421F-5F44-4705-9C2B-F02C9A51D5DC}"/>
          </ac:picMkLst>
        </pc:picChg>
      </pc:sldChg>
      <pc:sldChg chg="modSp add mod">
        <pc:chgData name="Meyer Raphael (PAR-ES)" userId="79615dfe-ed48-4e74-a40f-4f7b034c1c27" providerId="ADAL" clId="{40A9BA90-785D-4DA2-BADF-77C405BC64A0}" dt="2021-06-15T14:51:50.820" v="274"/>
        <pc:sldMkLst>
          <pc:docMk/>
          <pc:sldMk cId="689864941" sldId="366"/>
        </pc:sldMkLst>
        <pc:spChg chg="mod">
          <ac:chgData name="Meyer Raphael (PAR-ES)" userId="79615dfe-ed48-4e74-a40f-4f7b034c1c27" providerId="ADAL" clId="{40A9BA90-785D-4DA2-BADF-77C405BC64A0}" dt="2021-06-15T14:49:43.752" v="262"/>
          <ac:spMkLst>
            <pc:docMk/>
            <pc:sldMk cId="689864941" sldId="366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40A9BA90-785D-4DA2-BADF-77C405BC64A0}" dt="2021-06-15T14:50:09.714" v="264"/>
          <ac:spMkLst>
            <pc:docMk/>
            <pc:sldMk cId="689864941" sldId="366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40A9BA90-785D-4DA2-BADF-77C405BC64A0}" dt="2021-06-15T14:49:53.700" v="263"/>
          <ac:spMkLst>
            <pc:docMk/>
            <pc:sldMk cId="689864941" sldId="366"/>
            <ac:spMk id="10" creationId="{077DFD58-E5EE-4B68-9325-D935DB04DD40}"/>
          </ac:spMkLst>
        </pc:spChg>
        <pc:graphicFrameChg chg="mod">
          <ac:chgData name="Meyer Raphael (PAR-ES)" userId="79615dfe-ed48-4e74-a40f-4f7b034c1c27" providerId="ADAL" clId="{40A9BA90-785D-4DA2-BADF-77C405BC64A0}" dt="2021-06-15T14:50:20.856" v="265" actId="207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40A9BA90-785D-4DA2-BADF-77C405BC64A0}" dt="2021-06-15T14:51:50.820" v="274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Weigel Stefan (KOM-PGA-VSF)" userId="fd3b2067-2981-4ad8-bf3a-d2e1004e4fa8" providerId="ADAL" clId="{E58961C8-12A7-4E0C-8D19-B5F32C4D6914}"/>
    <pc:docChg chg="modSld sldOrd">
      <pc:chgData name="Weigel Stefan (KOM-PGA-VSF)" userId="fd3b2067-2981-4ad8-bf3a-d2e1004e4fa8" providerId="ADAL" clId="{E58961C8-12A7-4E0C-8D19-B5F32C4D6914}" dt="2020-10-06T09:46:59.642" v="2"/>
      <pc:docMkLst>
        <pc:docMk/>
      </pc:docMkLst>
      <pc:sldChg chg="modTransition">
        <pc:chgData name="Weigel Stefan (KOM-PGA-VSF)" userId="fd3b2067-2981-4ad8-bf3a-d2e1004e4fa8" providerId="ADAL" clId="{E58961C8-12A7-4E0C-8D19-B5F32C4D6914}" dt="2020-10-06T09:46:57.109" v="1"/>
        <pc:sldMkLst>
          <pc:docMk/>
          <pc:sldMk cId="1624757107" sldId="293"/>
        </pc:sldMkLst>
      </pc:sldChg>
      <pc:sldChg chg="modTransition">
        <pc:chgData name="Weigel Stefan (KOM-PGA-VSF)" userId="fd3b2067-2981-4ad8-bf3a-d2e1004e4fa8" providerId="ADAL" clId="{E58961C8-12A7-4E0C-8D19-B5F32C4D6914}" dt="2020-10-06T09:46:59.642" v="2"/>
        <pc:sldMkLst>
          <pc:docMk/>
          <pc:sldMk cId="278967075" sldId="294"/>
        </pc:sldMkLst>
      </pc:sldChg>
      <pc:sldChg chg="ord">
        <pc:chgData name="Weigel Stefan (KOM-PGA-VSF)" userId="fd3b2067-2981-4ad8-bf3a-d2e1004e4fa8" providerId="ADAL" clId="{E58961C8-12A7-4E0C-8D19-B5F32C4D6914}" dt="2020-10-06T09:46:47.762" v="0"/>
        <pc:sldMkLst>
          <pc:docMk/>
          <pc:sldMk cId="342226240" sldId="295"/>
        </pc:sldMkLst>
      </pc:sldChg>
    </pc:docChg>
  </pc:docChgLst>
  <pc:docChgLst>
    <pc:chgData name="Meyer Raphael (PAR-ES)" userId="79615dfe-ed48-4e74-a40f-4f7b034c1c27" providerId="ADAL" clId="{9C3B3081-711B-47CA-B6D3-9CEBB9DB5DFD}"/>
    <pc:docChg chg="undo redo custSel addSld delSld modSld sldOrd">
      <pc:chgData name="Meyer Raphael (PAR-ES)" userId="79615dfe-ed48-4e74-a40f-4f7b034c1c27" providerId="ADAL" clId="{9C3B3081-711B-47CA-B6D3-9CEBB9DB5DFD}" dt="2021-05-27T07:08:20.426" v="250" actId="27918"/>
      <pc:docMkLst>
        <pc:docMk/>
      </pc:docMkLst>
      <pc:sldChg chg="mod">
        <pc:chgData name="Meyer Raphael (PAR-ES)" userId="79615dfe-ed48-4e74-a40f-4f7b034c1c27" providerId="ADAL" clId="{9C3B3081-711B-47CA-B6D3-9CEBB9DB5DFD}" dt="2021-05-27T07:08:20.426" v="250" actId="27918"/>
        <pc:sldMkLst>
          <pc:docMk/>
          <pc:sldMk cId="1495152177" sldId="298"/>
        </pc:sldMkLst>
      </pc:sldChg>
      <pc:sldChg chg="modSp mod">
        <pc:chgData name="Meyer Raphael (PAR-ES)" userId="79615dfe-ed48-4e74-a40f-4f7b034c1c27" providerId="ADAL" clId="{9C3B3081-711B-47CA-B6D3-9CEBB9DB5DFD}" dt="2021-05-27T06:55:36.772" v="201" actId="552"/>
        <pc:sldMkLst>
          <pc:docMk/>
          <pc:sldMk cId="1667945532" sldId="306"/>
        </pc:sldMkLst>
        <pc:spChg chg="mod">
          <ac:chgData name="Meyer Raphael (PAR-ES)" userId="79615dfe-ed48-4e74-a40f-4f7b034c1c27" providerId="ADAL" clId="{9C3B3081-711B-47CA-B6D3-9CEBB9DB5DFD}" dt="2021-05-27T06:49:29.073" v="151" actId="1076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9C3B3081-711B-47CA-B6D3-9CEBB9DB5DFD}" dt="2021-05-27T06:55:16.262" v="199" actId="552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9C3B3081-711B-47CA-B6D3-9CEBB9DB5DFD}" dt="2021-05-27T06:55:36.772" v="201" actId="552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9C3B3081-711B-47CA-B6D3-9CEBB9DB5DFD}" dt="2021-05-27T06:40:29.524" v="68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9C3B3081-711B-47CA-B6D3-9CEBB9DB5DFD}" dt="2021-05-27T06:48:40.115" v="146" actId="1076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9C3B3081-711B-47CA-B6D3-9CEBB9DB5DFD}" dt="2021-05-27T06:48:26.976" v="145" actId="1037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9C3B3081-711B-47CA-B6D3-9CEBB9DB5DFD}" dt="2021-05-27T06:54:57.089" v="198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9C3B3081-711B-47CA-B6D3-9CEBB9DB5DFD}" dt="2021-05-27T06:58:46.931" v="214" actId="2696"/>
        <pc:sldMkLst>
          <pc:docMk/>
          <pc:sldMk cId="1952189380" sldId="356"/>
        </pc:sldMkLst>
      </pc:sldChg>
      <pc:sldChg chg="modSp del mod">
        <pc:chgData name="Meyer Raphael (PAR-ES)" userId="79615dfe-ed48-4e74-a40f-4f7b034c1c27" providerId="ADAL" clId="{9C3B3081-711B-47CA-B6D3-9CEBB9DB5DFD}" dt="2021-05-27T06:59:59.827" v="224" actId="2696"/>
        <pc:sldMkLst>
          <pc:docMk/>
          <pc:sldMk cId="3480515475" sldId="357"/>
        </pc:sldMkLst>
        <pc:spChg chg="mod">
          <ac:chgData name="Meyer Raphael (PAR-ES)" userId="79615dfe-ed48-4e74-a40f-4f7b034c1c27" providerId="ADAL" clId="{9C3B3081-711B-47CA-B6D3-9CEBB9DB5DFD}" dt="2021-05-27T06:59:29.711" v="220" actId="20577"/>
          <ac:spMkLst>
            <pc:docMk/>
            <pc:sldMk cId="3480515475" sldId="357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8:32.197" v="213"/>
        <pc:sldMkLst>
          <pc:docMk/>
          <pc:sldMk cId="1357620443" sldId="359"/>
        </pc:sldMkLst>
        <pc:spChg chg="mod">
          <ac:chgData name="Meyer Raphael (PAR-ES)" userId="79615dfe-ed48-4e74-a40f-4f7b034c1c27" providerId="ADAL" clId="{9C3B3081-711B-47CA-B6D3-9CEBB9DB5DFD}" dt="2021-05-27T06:58:03.226" v="210"/>
          <ac:spMkLst>
            <pc:docMk/>
            <pc:sldMk cId="1357620443" sldId="359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8:17.657" v="212"/>
          <ac:spMkLst>
            <pc:docMk/>
            <pc:sldMk cId="1357620443" sldId="359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8:10.620" v="211"/>
          <ac:spMkLst>
            <pc:docMk/>
            <pc:sldMk cId="1357620443" sldId="359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1" creationId="{925F7354-10FA-48C5-92CE-49F9F8E62575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2" creationId="{74D5751A-9030-4AD6-B445-4C8B8C98FF78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3" creationId="{64EFDE9B-457B-4EF0-9004-B4241920D27B}"/>
          </ac:spMkLst>
        </pc:spChg>
        <pc:spChg chg="add mod">
          <ac:chgData name="Meyer Raphael (PAR-ES)" userId="79615dfe-ed48-4e74-a40f-4f7b034c1c27" providerId="ADAL" clId="{9C3B3081-711B-47CA-B6D3-9CEBB9DB5DFD}" dt="2021-05-27T06:57:55.348" v="209"/>
          <ac:spMkLst>
            <pc:docMk/>
            <pc:sldMk cId="1357620443" sldId="359"/>
            <ac:spMk id="25" creationId="{E3CB85A7-74FA-4AE2-AAE4-EE0E09B20508}"/>
          </ac:spMkLst>
        </pc:spChg>
        <pc:spChg chg="del">
          <ac:chgData name="Meyer Raphael (PAR-ES)" userId="79615dfe-ed48-4e74-a40f-4f7b034c1c27" providerId="ADAL" clId="{9C3B3081-711B-47CA-B6D3-9CEBB9DB5DFD}" dt="2021-05-27T06:57:46.158" v="208" actId="478"/>
          <ac:spMkLst>
            <pc:docMk/>
            <pc:sldMk cId="1357620443" sldId="359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8:32.197" v="213"/>
          <ac:spMkLst>
            <pc:docMk/>
            <pc:sldMk cId="1357620443" sldId="359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9C3B3081-711B-47CA-B6D3-9CEBB9DB5DFD}" dt="2021-05-27T06:59:48.985" v="223" actId="14100"/>
        <pc:sldMkLst>
          <pc:docMk/>
          <pc:sldMk cId="2316055797" sldId="360"/>
        </pc:sldMkLst>
        <pc:spChg chg="mod">
          <ac:chgData name="Meyer Raphael (PAR-ES)" userId="79615dfe-ed48-4e74-a40f-4f7b034c1c27" providerId="ADAL" clId="{9C3B3081-711B-47CA-B6D3-9CEBB9DB5DFD}" dt="2021-05-27T06:59:17.330" v="217"/>
          <ac:spMkLst>
            <pc:docMk/>
            <pc:sldMk cId="2316055797" sldId="36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9C3B3081-711B-47CA-B6D3-9CEBB9DB5DFD}" dt="2021-05-27T06:59:34.170" v="221"/>
          <ac:spMkLst>
            <pc:docMk/>
            <pc:sldMk cId="2316055797" sldId="36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9C3B3081-711B-47CA-B6D3-9CEBB9DB5DFD}" dt="2021-05-27T06:59:24.521" v="218"/>
          <ac:spMkLst>
            <pc:docMk/>
            <pc:sldMk cId="2316055797" sldId="36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1" creationId="{305CE7A0-585D-4B94-B71B-7CB1CCDAB621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2" creationId="{A51D6DF2-55B9-4EEE-B3DF-83505D1EC6C0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3" creationId="{A3EF9284-5DC4-4DDF-BE7D-B40AB2256FE2}"/>
          </ac:spMkLst>
        </pc:spChg>
        <pc:spChg chg="add mod">
          <ac:chgData name="Meyer Raphael (PAR-ES)" userId="79615dfe-ed48-4e74-a40f-4f7b034c1c27" providerId="ADAL" clId="{9C3B3081-711B-47CA-B6D3-9CEBB9DB5DFD}" dt="2021-05-27T06:59:08.197" v="216"/>
          <ac:spMkLst>
            <pc:docMk/>
            <pc:sldMk cId="2316055797" sldId="360"/>
            <ac:spMk id="25" creationId="{E1CC4D16-4833-4590-ABC6-5BA7344E003B}"/>
          </ac:spMkLst>
        </pc:spChg>
        <pc:spChg chg="del">
          <ac:chgData name="Meyer Raphael (PAR-ES)" userId="79615dfe-ed48-4e74-a40f-4f7b034c1c27" providerId="ADAL" clId="{9C3B3081-711B-47CA-B6D3-9CEBB9DB5DFD}" dt="2021-05-27T06:59:00.588" v="215" actId="478"/>
          <ac:spMkLst>
            <pc:docMk/>
            <pc:sldMk cId="2316055797" sldId="36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9C3B3081-711B-47CA-B6D3-9CEBB9DB5DFD}" dt="2021-05-27T06:59:48.985" v="223" actId="14100"/>
          <ac:spMkLst>
            <pc:docMk/>
            <pc:sldMk cId="2316055797" sldId="360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03B58AC3-EEA0-4B80-B319-B65A39D0367A}"/>
    <pc:docChg chg="custSel delSld modSld">
      <pc:chgData name="Meyer Raphael (PAR-ES)" userId="79615dfe-ed48-4e74-a40f-4f7b034c1c27" providerId="ADAL" clId="{03B58AC3-EEA0-4B80-B319-B65A39D0367A}" dt="2021-06-14T08:15:01.320" v="32" actId="478"/>
      <pc:docMkLst>
        <pc:docMk/>
      </pc:docMkLst>
      <pc:sldChg chg="addSp delSp modSp mod">
        <pc:chgData name="Meyer Raphael (PAR-ES)" userId="79615dfe-ed48-4e74-a40f-4f7b034c1c27" providerId="ADAL" clId="{03B58AC3-EEA0-4B80-B319-B65A39D0367A}" dt="2021-06-14T08:15:01.320" v="32" actId="478"/>
        <pc:sldMkLst>
          <pc:docMk/>
          <pc:sldMk cId="1495152177" sldId="298"/>
        </pc:sldMkLst>
        <pc:cxnChg chg="add del mod">
          <ac:chgData name="Meyer Raphael (PAR-ES)" userId="79615dfe-ed48-4e74-a40f-4f7b034c1c27" providerId="ADAL" clId="{03B58AC3-EEA0-4B80-B319-B65A39D0367A}" dt="2021-06-14T08:15:01.320" v="32" actId="478"/>
          <ac:cxnSpMkLst>
            <pc:docMk/>
            <pc:sldMk cId="1495152177" sldId="298"/>
            <ac:cxnSpMk id="9" creationId="{3D0914DF-E02F-4F5D-9F2B-08EF642F8FBC}"/>
          </ac:cxnSpMkLst>
        </pc:cxnChg>
      </pc:sldChg>
      <pc:sldChg chg="del">
        <pc:chgData name="Meyer Raphael (PAR-ES)" userId="79615dfe-ed48-4e74-a40f-4f7b034c1c27" providerId="ADAL" clId="{03B58AC3-EEA0-4B80-B319-B65A39D0367A}" dt="2021-06-14T08:01:54.366" v="0" actId="47"/>
        <pc:sldMkLst>
          <pc:docMk/>
          <pc:sldMk cId="2817904021" sldId="319"/>
        </pc:sldMkLst>
      </pc:sldChg>
      <pc:sldChg chg="del">
        <pc:chgData name="Meyer Raphael (PAR-ES)" userId="79615dfe-ed48-4e74-a40f-4f7b034c1c27" providerId="ADAL" clId="{03B58AC3-EEA0-4B80-B319-B65A39D0367A}" dt="2021-06-14T08:05:10.770" v="3" actId="2696"/>
        <pc:sldMkLst>
          <pc:docMk/>
          <pc:sldMk cId="202659337" sldId="320"/>
        </pc:sldMkLst>
      </pc:sldChg>
      <pc:sldChg chg="modSp mod">
        <pc:chgData name="Meyer Raphael (PAR-ES)" userId="79615dfe-ed48-4e74-a40f-4f7b034c1c27" providerId="ADAL" clId="{03B58AC3-EEA0-4B80-B319-B65A39D0367A}" dt="2021-06-14T08:09:52.886" v="25" actId="20577"/>
        <pc:sldMkLst>
          <pc:docMk/>
          <pc:sldMk cId="1559304935" sldId="363"/>
        </pc:sldMkLst>
        <pc:spChg chg="mod">
          <ac:chgData name="Meyer Raphael (PAR-ES)" userId="79615dfe-ed48-4e74-a40f-4f7b034c1c27" providerId="ADAL" clId="{03B58AC3-EEA0-4B80-B319-B65A39D0367A}" dt="2021-06-14T08:09:52.886" v="25" actId="20577"/>
          <ac:spMkLst>
            <pc:docMk/>
            <pc:sldMk cId="1559304935" sldId="363"/>
            <ac:spMk id="7" creationId="{51421822-C303-4FC2-BF5E-F4377E568635}"/>
          </ac:spMkLst>
        </pc:spChg>
      </pc:sldChg>
      <pc:sldChg chg="modSp mod">
        <pc:chgData name="Meyer Raphael (PAR-ES)" userId="79615dfe-ed48-4e74-a40f-4f7b034c1c27" providerId="ADAL" clId="{03B58AC3-EEA0-4B80-B319-B65A39D0367A}" dt="2021-06-14T08:09:43.934" v="19" actId="20577"/>
        <pc:sldMkLst>
          <pc:docMk/>
          <pc:sldMk cId="2043265091" sldId="364"/>
        </pc:sldMkLst>
        <pc:spChg chg="mod">
          <ac:chgData name="Meyer Raphael (PAR-ES)" userId="79615dfe-ed48-4e74-a40f-4f7b034c1c27" providerId="ADAL" clId="{03B58AC3-EEA0-4B80-B319-B65A39D0367A}" dt="2021-06-14T08:04:26.604" v="1"/>
          <ac:spMkLst>
            <pc:docMk/>
            <pc:sldMk cId="2043265091" sldId="364"/>
            <ac:spMk id="2" creationId="{A2DC317F-F1F4-4624-8FC1-3B68C1DBB3DA}"/>
          </ac:spMkLst>
        </pc:spChg>
        <pc:spChg chg="mod">
          <ac:chgData name="Meyer Raphael (PAR-ES)" userId="79615dfe-ed48-4e74-a40f-4f7b034c1c27" providerId="ADAL" clId="{03B58AC3-EEA0-4B80-B319-B65A39D0367A}" dt="2021-06-14T08:09:31.781" v="13" actId="1076"/>
          <ac:spMkLst>
            <pc:docMk/>
            <pc:sldMk cId="2043265091" sldId="364"/>
            <ac:spMk id="6" creationId="{0EEE4EA3-E16E-424B-97F9-53A8F5D585AE}"/>
          </ac:spMkLst>
        </pc:spChg>
        <pc:spChg chg="mod">
          <ac:chgData name="Meyer Raphael (PAR-ES)" userId="79615dfe-ed48-4e74-a40f-4f7b034c1c27" providerId="ADAL" clId="{03B58AC3-EEA0-4B80-B319-B65A39D0367A}" dt="2021-06-14T08:09:43.934" v="19" actId="20577"/>
          <ac:spMkLst>
            <pc:docMk/>
            <pc:sldMk cId="2043265091" sldId="364"/>
            <ac:spMk id="7" creationId="{51421822-C303-4FC2-BF5E-F4377E568635}"/>
          </ac:spMkLst>
        </pc:spChg>
        <pc:spChg chg="mod">
          <ac:chgData name="Meyer Raphael (PAR-ES)" userId="79615dfe-ed48-4e74-a40f-4f7b034c1c27" providerId="ADAL" clId="{03B58AC3-EEA0-4B80-B319-B65A39D0367A}" dt="2021-06-14T08:04:34.562" v="2"/>
          <ac:spMkLst>
            <pc:docMk/>
            <pc:sldMk cId="2043265091" sldId="364"/>
            <ac:spMk id="10" creationId="{077DFD58-E5EE-4B68-9325-D935DB04DD40}"/>
          </ac:spMkLst>
        </pc:spChg>
      </pc:sldChg>
    </pc:docChg>
  </pc:docChgLst>
  <pc:docChgLst>
    <pc:chgData name="Meyer Raphael (PAR-ES)" userId="79615dfe-ed48-4e74-a40f-4f7b034c1c27" providerId="ADAL" clId="{353D637F-363A-420B-9CF3-D54526E0A256}"/>
    <pc:docChg chg="delSld">
      <pc:chgData name="Meyer Raphael (PAR-ES)" userId="79615dfe-ed48-4e74-a40f-4f7b034c1c27" providerId="ADAL" clId="{353D637F-363A-420B-9CF3-D54526E0A256}" dt="2022-02-21T11:04:02.632" v="0" actId="47"/>
      <pc:docMkLst>
        <pc:docMk/>
      </pc:docMkLst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57003221" sldId="400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2346713788" sldId="401"/>
        </pc:sldMkLst>
      </pc:sldChg>
      <pc:sldChg chg="del">
        <pc:chgData name="Meyer Raphael (PAR-ES)" userId="79615dfe-ed48-4e74-a40f-4f7b034c1c27" providerId="ADAL" clId="{353D637F-363A-420B-9CF3-D54526E0A256}" dt="2022-02-21T11:04:02.632" v="0" actId="47"/>
        <pc:sldMkLst>
          <pc:docMk/>
          <pc:sldMk cId="1838343115" sldId="402"/>
        </pc:sldMkLst>
      </pc:sldChg>
    </pc:docChg>
  </pc:docChgLst>
  <pc:docChgLst>
    <pc:chgData name="Meyer Raphael (PAR-ES)" userId="79615dfe-ed48-4e74-a40f-4f7b034c1c27" providerId="ADAL" clId="{41A5B2EA-2907-4898-8BAD-7161CA34B4C3}"/>
    <pc:docChg chg="undo custSel modSld">
      <pc:chgData name="Meyer Raphael (PAR-ES)" userId="79615dfe-ed48-4e74-a40f-4f7b034c1c27" providerId="ADAL" clId="{41A5B2EA-2907-4898-8BAD-7161CA34B4C3}" dt="2022-03-03T13:54:34.303" v="122" actId="20577"/>
      <pc:docMkLst>
        <pc:docMk/>
      </pc:docMkLst>
      <pc:sldChg chg="modSp mod">
        <pc:chgData name="Meyer Raphael (PAR-ES)" userId="79615dfe-ed48-4e74-a40f-4f7b034c1c27" providerId="ADAL" clId="{41A5B2EA-2907-4898-8BAD-7161CA34B4C3}" dt="2022-03-03T13:51:34.741" v="61"/>
        <pc:sldMkLst>
          <pc:docMk/>
          <pc:sldMk cId="421447817" sldId="271"/>
        </pc:sldMkLst>
        <pc:spChg chg="mod">
          <ac:chgData name="Meyer Raphael (PAR-ES)" userId="79615dfe-ed48-4e74-a40f-4f7b034c1c27" providerId="ADAL" clId="{41A5B2EA-2907-4898-8BAD-7161CA34B4C3}" dt="2022-03-03T13:51:34.741" v="61"/>
          <ac:spMkLst>
            <pc:docMk/>
            <pc:sldMk cId="421447817" sldId="271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1:33.039" v="58" actId="1036"/>
          <ac:spMkLst>
            <pc:docMk/>
            <pc:sldMk cId="421447817" sldId="271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48:37.964" v="17" actId="20577"/>
          <ac:spMkLst>
            <pc:docMk/>
            <pc:sldMk cId="421447817" sldId="271"/>
            <ac:spMk id="12" creationId="{5951AA1F-1F78-4199-A377-9885C86C21AF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2:57.702" v="104" actId="20577"/>
        <pc:sldMkLst>
          <pc:docMk/>
          <pc:sldMk cId="1823063743" sldId="272"/>
        </pc:sldMkLst>
        <pc:spChg chg="mod">
          <ac:chgData name="Meyer Raphael (PAR-ES)" userId="79615dfe-ed48-4e74-a40f-4f7b034c1c27" providerId="ADAL" clId="{41A5B2EA-2907-4898-8BAD-7161CA34B4C3}" dt="2022-03-03T13:51:50.163" v="66" actId="20577"/>
          <ac:spMkLst>
            <pc:docMk/>
            <pc:sldMk cId="1823063743" sldId="272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2:24.458" v="90" actId="14100"/>
          <ac:spMkLst>
            <pc:docMk/>
            <pc:sldMk cId="1823063743" sldId="272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2:52.795" v="98" actId="20577"/>
          <ac:spMkLst>
            <pc:docMk/>
            <pc:sldMk cId="1823063743" sldId="272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2:57.702" v="104" actId="20577"/>
          <ac:spMkLst>
            <pc:docMk/>
            <pc:sldMk cId="1823063743" sldId="272"/>
            <ac:spMk id="13" creationId="{529F12DD-D362-4327-A51F-7014752CAD03}"/>
          </ac:spMkLst>
        </pc:spChg>
      </pc:sldChg>
      <pc:sldChg chg="modSp mod">
        <pc:chgData name="Meyer Raphael (PAR-ES)" userId="79615dfe-ed48-4e74-a40f-4f7b034c1c27" providerId="ADAL" clId="{41A5B2EA-2907-4898-8BAD-7161CA34B4C3}" dt="2022-03-03T13:54:34.303" v="122" actId="20577"/>
        <pc:sldMkLst>
          <pc:docMk/>
          <pc:sldMk cId="3044751883" sldId="273"/>
        </pc:sldMkLst>
        <pc:spChg chg="mod">
          <ac:chgData name="Meyer Raphael (PAR-ES)" userId="79615dfe-ed48-4e74-a40f-4f7b034c1c27" providerId="ADAL" clId="{41A5B2EA-2907-4898-8BAD-7161CA34B4C3}" dt="2022-03-03T13:53:58.616" v="109" actId="20577"/>
          <ac:spMkLst>
            <pc:docMk/>
            <pc:sldMk cId="3044751883" sldId="273"/>
            <ac:spMk id="2" creationId="{00000000-0000-0000-0000-000000000000}"/>
          </ac:spMkLst>
        </pc:spChg>
        <pc:spChg chg="mod">
          <ac:chgData name="Meyer Raphael (PAR-ES)" userId="79615dfe-ed48-4e74-a40f-4f7b034c1c27" providerId="ADAL" clId="{41A5B2EA-2907-4898-8BAD-7161CA34B4C3}" dt="2022-03-03T13:54:11.854" v="110"/>
          <ac:spMkLst>
            <pc:docMk/>
            <pc:sldMk cId="3044751883" sldId="273"/>
            <ac:spMk id="11" creationId="{C872468D-648C-44F5-8DF7-75B41720E3E9}"/>
          </ac:spMkLst>
        </pc:spChg>
        <pc:spChg chg="mod">
          <ac:chgData name="Meyer Raphael (PAR-ES)" userId="79615dfe-ed48-4e74-a40f-4f7b034c1c27" providerId="ADAL" clId="{41A5B2EA-2907-4898-8BAD-7161CA34B4C3}" dt="2022-03-03T13:54:25.352" v="116" actId="20577"/>
          <ac:spMkLst>
            <pc:docMk/>
            <pc:sldMk cId="3044751883" sldId="273"/>
            <ac:spMk id="12" creationId="{5951AA1F-1F78-4199-A377-9885C86C21AF}"/>
          </ac:spMkLst>
        </pc:spChg>
        <pc:spChg chg="mod">
          <ac:chgData name="Meyer Raphael (PAR-ES)" userId="79615dfe-ed48-4e74-a40f-4f7b034c1c27" providerId="ADAL" clId="{41A5B2EA-2907-4898-8BAD-7161CA34B4C3}" dt="2022-03-03T13:54:34.303" v="122" actId="20577"/>
          <ac:spMkLst>
            <pc:docMk/>
            <pc:sldMk cId="3044751883" sldId="273"/>
            <ac:spMk id="13" creationId="{529F12DD-D362-4327-A51F-7014752CAD03}"/>
          </ac:spMkLst>
        </pc:spChg>
      </pc:sldChg>
    </pc:docChg>
  </pc:docChgLst>
  <pc:docChgLst>
    <pc:chgData name="Meyer Raphael (PAR-ES)" userId="79615dfe-ed48-4e74-a40f-4f7b034c1c27" providerId="ADAL" clId="{6CBE310B-8AD8-4E27-BE2B-82789F9F801F}"/>
    <pc:docChg chg="undo custSel addSld delSld modSld sldOrd">
      <pc:chgData name="Meyer Raphael (PAR-ES)" userId="79615dfe-ed48-4e74-a40f-4f7b034c1c27" providerId="ADAL" clId="{6CBE310B-8AD8-4E27-BE2B-82789F9F801F}" dt="2021-02-25T08:18:46.817" v="126" actId="2696"/>
      <pc:docMkLst>
        <pc:docMk/>
      </pc:docMkLst>
      <pc:sldChg chg="delSp modSp mod">
        <pc:chgData name="Meyer Raphael (PAR-ES)" userId="79615dfe-ed48-4e74-a40f-4f7b034c1c27" providerId="ADAL" clId="{6CBE310B-8AD8-4E27-BE2B-82789F9F801F}" dt="2021-02-25T08:14:28.668" v="102" actId="1038"/>
        <pc:sldMkLst>
          <pc:docMk/>
          <pc:sldMk cId="1667945532" sldId="306"/>
        </pc:sldMkLst>
        <pc:spChg chg="mod">
          <ac:chgData name="Meyer Raphael (PAR-ES)" userId="79615dfe-ed48-4e74-a40f-4f7b034c1c27" providerId="ADAL" clId="{6CBE310B-8AD8-4E27-BE2B-82789F9F801F}" dt="2021-02-25T07:48:08.820" v="1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CBE310B-8AD8-4E27-BE2B-82789F9F801F}" dt="2021-02-25T07:48:46.976" v="1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CBE310B-8AD8-4E27-BE2B-82789F9F801F}" dt="2021-02-25T07:54:24.328" v="53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CBE310B-8AD8-4E27-BE2B-82789F9F801F}" dt="2021-02-25T07:49:12.400" v="15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CBE310B-8AD8-4E27-BE2B-82789F9F801F}" dt="2021-02-25T07:51:57.390" v="34" actId="1076"/>
          <ac:spMkLst>
            <pc:docMk/>
            <pc:sldMk cId="1667945532" sldId="306"/>
            <ac:spMk id="32" creationId="{E65DDA4F-7190-4D5B-B875-6818D18C9F6E}"/>
          </ac:spMkLst>
        </pc:spChg>
        <pc:spChg chg="del">
          <ac:chgData name="Meyer Raphael (PAR-ES)" userId="79615dfe-ed48-4e74-a40f-4f7b034c1c27" providerId="ADAL" clId="{6CBE310B-8AD8-4E27-BE2B-82789F9F801F}" dt="2021-02-25T08:12:39.627" v="79" actId="478"/>
          <ac:spMkLst>
            <pc:docMk/>
            <pc:sldMk cId="1667945532" sldId="306"/>
            <ac:spMk id="33" creationId="{9EBB3871-416B-408E-B57A-A89D014D2D8E}"/>
          </ac:spMkLst>
        </pc:spChg>
        <pc:spChg chg="del mod">
          <ac:chgData name="Meyer Raphael (PAR-ES)" userId="79615dfe-ed48-4e74-a40f-4f7b034c1c27" providerId="ADAL" clId="{6CBE310B-8AD8-4E27-BE2B-82789F9F801F}" dt="2021-02-25T08:10:14.103" v="78" actId="478"/>
          <ac:spMkLst>
            <pc:docMk/>
            <pc:sldMk cId="1667945532" sldId="306"/>
            <ac:spMk id="37" creationId="{16628D91-C37D-41C8-A84A-DDEB3E2C1246}"/>
          </ac:spMkLst>
        </pc:spChg>
        <pc:graphicFrameChg chg="mod">
          <ac:chgData name="Meyer Raphael (PAR-ES)" userId="79615dfe-ed48-4e74-a40f-4f7b034c1c27" providerId="ADAL" clId="{6CBE310B-8AD8-4E27-BE2B-82789F9F801F}" dt="2021-02-25T08:03:18.828" v="75" actId="69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graphicFrameChg chg="mod">
          <ac:chgData name="Meyer Raphael (PAR-ES)" userId="79615dfe-ed48-4e74-a40f-4f7b034c1c27" providerId="ADAL" clId="{6CBE310B-8AD8-4E27-BE2B-82789F9F801F}" dt="2021-02-25T07:58:00.368" v="72"/>
          <ac:graphicFrameMkLst>
            <pc:docMk/>
            <pc:sldMk cId="1667945532" sldId="306"/>
            <ac:graphicFrameMk id="24" creationId="{B6049B58-D743-4BF8-ADBD-2CBD12961E56}"/>
          </ac:graphicFrameMkLst>
        </pc:graphicFrameChg>
        <pc:cxnChg chg="mod">
          <ac:chgData name="Meyer Raphael (PAR-ES)" userId="79615dfe-ed48-4e74-a40f-4f7b034c1c27" providerId="ADAL" clId="{6CBE310B-8AD8-4E27-BE2B-82789F9F801F}" dt="2021-02-25T08:14:28.668" v="102" actId="1038"/>
          <ac:cxnSpMkLst>
            <pc:docMk/>
            <pc:sldMk cId="1667945532" sldId="306"/>
            <ac:cxnSpMk id="20" creationId="{07FCC63F-5E2F-43DF-84ED-5FFEC92A0042}"/>
          </ac:cxnSpMkLst>
        </pc:cxnChg>
        <pc:cxnChg chg="mod">
          <ac:chgData name="Meyer Raphael (PAR-ES)" userId="79615dfe-ed48-4e74-a40f-4f7b034c1c27" providerId="ADAL" clId="{6CBE310B-8AD8-4E27-BE2B-82789F9F801F}" dt="2021-02-25T08:13:35.433" v="96" actId="1038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modSp">
        <pc:chgData name="Meyer Raphael (PAR-ES)" userId="79615dfe-ed48-4e74-a40f-4f7b034c1c27" providerId="ADAL" clId="{6CBE310B-8AD8-4E27-BE2B-82789F9F801F}" dt="2021-02-25T08:08:52.754" v="76" actId="692"/>
        <pc:sldMkLst>
          <pc:docMk/>
          <pc:sldMk cId="277025245" sldId="325"/>
        </pc:sldMkLst>
        <pc:graphicFrameChg chg="mod">
          <ac:chgData name="Meyer Raphael (PAR-ES)" userId="79615dfe-ed48-4e74-a40f-4f7b034c1c27" providerId="ADAL" clId="{6CBE310B-8AD8-4E27-BE2B-82789F9F801F}" dt="2021-02-25T08:08:52.754" v="76" actId="692"/>
          <ac:graphicFrameMkLst>
            <pc:docMk/>
            <pc:sldMk cId="277025245" sldId="325"/>
            <ac:graphicFrameMk id="5" creationId="{4CF6AB8B-CAB9-4C7E-8E59-E00357A4D7F0}"/>
          </ac:graphicFrameMkLst>
        </pc:graphicFrameChg>
      </pc:sldChg>
      <pc:sldChg chg="del">
        <pc:chgData name="Meyer Raphael (PAR-ES)" userId="79615dfe-ed48-4e74-a40f-4f7b034c1c27" providerId="ADAL" clId="{6CBE310B-8AD8-4E27-BE2B-82789F9F801F}" dt="2021-02-25T08:18:46.817" v="126" actId="2696"/>
        <pc:sldMkLst>
          <pc:docMk/>
          <pc:sldMk cId="1861201491" sldId="330"/>
        </pc:sldMkLst>
      </pc:sldChg>
      <pc:sldChg chg="add del">
        <pc:chgData name="Meyer Raphael (PAR-ES)" userId="79615dfe-ed48-4e74-a40f-4f7b034c1c27" providerId="ADAL" clId="{6CBE310B-8AD8-4E27-BE2B-82789F9F801F}" dt="2021-02-25T08:16:31.832" v="116" actId="2696"/>
        <pc:sldMkLst>
          <pc:docMk/>
          <pc:sldMk cId="1241728994" sldId="331"/>
        </pc:sldMkLst>
      </pc:sldChg>
      <pc:sldChg chg="addSp delSp modSp add ord">
        <pc:chgData name="Meyer Raphael (PAR-ES)" userId="79615dfe-ed48-4e74-a40f-4f7b034c1c27" providerId="ADAL" clId="{6CBE310B-8AD8-4E27-BE2B-82789F9F801F}" dt="2021-02-25T08:16:16.378" v="115"/>
        <pc:sldMkLst>
          <pc:docMk/>
          <pc:sldMk cId="423704220" sldId="332"/>
        </pc:sldMkLst>
        <pc:spChg chg="mod">
          <ac:chgData name="Meyer Raphael (PAR-ES)" userId="79615dfe-ed48-4e74-a40f-4f7b034c1c27" providerId="ADAL" clId="{6CBE310B-8AD8-4E27-BE2B-82789F9F801F}" dt="2021-02-25T08:15:33.131" v="111"/>
          <ac:spMkLst>
            <pc:docMk/>
            <pc:sldMk cId="423704220" sldId="33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5:42.148" v="112"/>
          <ac:spMkLst>
            <pc:docMk/>
            <pc:sldMk cId="423704220" sldId="33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5:23.424" v="110" actId="20577"/>
          <ac:spMkLst>
            <pc:docMk/>
            <pc:sldMk cId="423704220" sldId="332"/>
            <ac:spMk id="23" creationId="{FFA12097-F211-48E9-9363-90FAD8AD9709}"/>
          </ac:spMkLst>
        </pc:spChg>
        <pc:spChg chg="del">
          <ac:chgData name="Meyer Raphael (PAR-ES)" userId="79615dfe-ed48-4e74-a40f-4f7b034c1c27" providerId="ADAL" clId="{6CBE310B-8AD8-4E27-BE2B-82789F9F801F}" dt="2021-02-25T08:15:06.171" v="107" actId="478"/>
          <ac:spMkLst>
            <pc:docMk/>
            <pc:sldMk cId="423704220" sldId="33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6:16.378" v="115"/>
          <ac:spMkLst>
            <pc:docMk/>
            <pc:sldMk cId="423704220" sldId="332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3" creationId="{8A51CEFF-8B52-4B83-B2C6-9CDE976D209A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6" creationId="{5F716302-3F0D-4853-98D4-E97820FB68B9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7" creationId="{206BFD9F-6DF9-4B3F-8A30-8B58021DD352}"/>
          </ac:spMkLst>
        </pc:spChg>
        <pc:spChg chg="add">
          <ac:chgData name="Meyer Raphael (PAR-ES)" userId="79615dfe-ed48-4e74-a40f-4f7b034c1c27" providerId="ADAL" clId="{6CBE310B-8AD8-4E27-BE2B-82789F9F801F}" dt="2021-02-25T08:15:19.713" v="108"/>
          <ac:spMkLst>
            <pc:docMk/>
            <pc:sldMk cId="423704220" sldId="332"/>
            <ac:spMk id="38" creationId="{32369B41-D077-4D71-8B1D-8E4EE3EDE857}"/>
          </ac:spMkLst>
        </pc:spChg>
      </pc:sldChg>
      <pc:sldChg chg="addSp delSp modSp add ord">
        <pc:chgData name="Meyer Raphael (PAR-ES)" userId="79615dfe-ed48-4e74-a40f-4f7b034c1c27" providerId="ADAL" clId="{6CBE310B-8AD8-4E27-BE2B-82789F9F801F}" dt="2021-02-25T08:18:18.939" v="125"/>
        <pc:sldMkLst>
          <pc:docMk/>
          <pc:sldMk cId="3676330928" sldId="333"/>
        </pc:sldMkLst>
        <pc:spChg chg="mod">
          <ac:chgData name="Meyer Raphael (PAR-ES)" userId="79615dfe-ed48-4e74-a40f-4f7b034c1c27" providerId="ADAL" clId="{6CBE310B-8AD8-4E27-BE2B-82789F9F801F}" dt="2021-02-25T08:18:08.332" v="124"/>
          <ac:spMkLst>
            <pc:docMk/>
            <pc:sldMk cId="3676330928" sldId="333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7" creationId="{BA3F9A72-0541-4D1F-8CD8-1C2B8074FA1B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CBE310B-8AD8-4E27-BE2B-82789F9F801F}" dt="2021-02-25T08:18:18.939" v="125"/>
          <ac:spMkLst>
            <pc:docMk/>
            <pc:sldMk cId="3676330928" sldId="333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CBE310B-8AD8-4E27-BE2B-82789F9F801F}" dt="2021-02-25T08:18:00.093" v="123" actId="20577"/>
          <ac:spMkLst>
            <pc:docMk/>
            <pc:sldMk cId="3676330928" sldId="333"/>
            <ac:spMk id="23" creationId="{EFB56E8A-C103-4BC3-B51E-38A988DAF639}"/>
          </ac:spMkLst>
        </pc:spChg>
        <pc:spChg chg="del">
          <ac:chgData name="Meyer Raphael (PAR-ES)" userId="79615dfe-ed48-4e74-a40f-4f7b034c1c27" providerId="ADAL" clId="{6CBE310B-8AD8-4E27-BE2B-82789F9F801F}" dt="2021-02-25T08:17:12.990" v="117" actId="478"/>
          <ac:spMkLst>
            <pc:docMk/>
            <pc:sldMk cId="3676330928" sldId="333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CBE310B-8AD8-4E27-BE2B-82789F9F801F}" dt="2021-02-25T08:17:48.568" v="121" actId="14100"/>
          <ac:spMkLst>
            <pc:docMk/>
            <pc:sldMk cId="3676330928" sldId="333"/>
            <ac:spMk id="27" creationId="{46A6B042-39EE-4A58-BBAA-13D52264B660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3" creationId="{BC605298-9673-4C17-8F44-23AE012CD8E2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6" creationId="{54F10397-7FCA-4852-BFE6-00CEA9B477F9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7" creationId="{3E7B73DC-69F6-4099-B97E-E95065CA3C5E}"/>
          </ac:spMkLst>
        </pc:spChg>
        <pc:spChg chg="add">
          <ac:chgData name="Meyer Raphael (PAR-ES)" userId="79615dfe-ed48-4e74-a40f-4f7b034c1c27" providerId="ADAL" clId="{6CBE310B-8AD8-4E27-BE2B-82789F9F801F}" dt="2021-02-25T08:17:26.339" v="118"/>
          <ac:spMkLst>
            <pc:docMk/>
            <pc:sldMk cId="3676330928" sldId="333"/>
            <ac:spMk id="38" creationId="{D91A3230-CB82-493C-822B-2A547E2C54D7}"/>
          </ac:spMkLst>
        </pc:spChg>
      </pc:sldChg>
    </pc:docChg>
  </pc:docChgLst>
  <pc:docChgLst>
    <pc:chgData name="Meyer Raphael (PAR-ES)" userId="79615dfe-ed48-4e74-a40f-4f7b034c1c27" providerId="ADAL" clId="{6DEBFCCA-05D0-4F82-BE10-06920730471D}"/>
    <pc:docChg chg="custSel addSld delSld modSld sldOrd">
      <pc:chgData name="Meyer Raphael (PAR-ES)" userId="79615dfe-ed48-4e74-a40f-4f7b034c1c27" providerId="ADAL" clId="{6DEBFCCA-05D0-4F82-BE10-06920730471D}" dt="2021-04-15T07:37:46.057" v="86" actId="47"/>
      <pc:docMkLst>
        <pc:docMk/>
      </pc:docMkLst>
      <pc:sldChg chg="modSp mod">
        <pc:chgData name="Meyer Raphael (PAR-ES)" userId="79615dfe-ed48-4e74-a40f-4f7b034c1c27" providerId="ADAL" clId="{6DEBFCCA-05D0-4F82-BE10-06920730471D}" dt="2021-04-15T07:32:45.364" v="59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6DEBFCCA-05D0-4F82-BE10-06920730471D}" dt="2021-04-15T07:27:57.561" v="3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6DEBFCCA-05D0-4F82-BE10-06920730471D}" dt="2021-04-15T07:32:29.106" v="51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6DEBFCCA-05D0-4F82-BE10-06920730471D}" dt="2021-04-15T07:32:00.350" v="45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6DEBFCCA-05D0-4F82-BE10-06920730471D}" dt="2021-04-15T07:32:45.364" v="59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6DEBFCCA-05D0-4F82-BE10-06920730471D}" dt="2021-04-15T07:32:06.981" v="47" actId="1076"/>
          <ac:spMkLst>
            <pc:docMk/>
            <pc:sldMk cId="1667945532" sldId="306"/>
            <ac:spMk id="32" creationId="{E65DDA4F-7190-4D5B-B875-6818D18C9F6E}"/>
          </ac:spMkLst>
        </pc:spChg>
      </pc:sldChg>
      <pc:sldChg chg="del">
        <pc:chgData name="Meyer Raphael (PAR-ES)" userId="79615dfe-ed48-4e74-a40f-4f7b034c1c27" providerId="ADAL" clId="{6DEBFCCA-05D0-4F82-BE10-06920730471D}" dt="2021-04-15T07:34:47.950" v="73" actId="47"/>
        <pc:sldMkLst>
          <pc:docMk/>
          <pc:sldMk cId="2164349284" sldId="344"/>
        </pc:sldMkLst>
      </pc:sldChg>
      <pc:sldChg chg="modSp del">
        <pc:chgData name="Meyer Raphael (PAR-ES)" userId="79615dfe-ed48-4e74-a40f-4f7b034c1c27" providerId="ADAL" clId="{6DEBFCCA-05D0-4F82-BE10-06920730471D}" dt="2021-04-15T07:37:46.057" v="86" actId="47"/>
        <pc:sldMkLst>
          <pc:docMk/>
          <pc:sldMk cId="2994949244" sldId="345"/>
        </pc:sldMkLst>
        <pc:spChg chg="mod">
          <ac:chgData name="Meyer Raphael (PAR-ES)" userId="79615dfe-ed48-4e74-a40f-4f7b034c1c27" providerId="ADAL" clId="{6DEBFCCA-05D0-4F82-BE10-06920730471D}" dt="2021-04-15T07:36:24.816" v="80"/>
          <ac:spMkLst>
            <pc:docMk/>
            <pc:sldMk cId="2994949244" sldId="345"/>
            <ac:spMk id="10" creationId="{077DFD58-E5EE-4B68-9325-D935DB04DD40}"/>
          </ac:spMkLst>
        </pc:spChg>
      </pc:sldChg>
      <pc:sldChg chg="del mod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586406932" sldId="346"/>
        </pc:sldMkLst>
      </pc:sldChg>
      <pc:sldChg chg="addSp delSp modSp add mod ord">
        <pc:chgData name="Meyer Raphael (PAR-ES)" userId="79615dfe-ed48-4e74-a40f-4f7b034c1c27" providerId="ADAL" clId="{6DEBFCCA-05D0-4F82-BE10-06920730471D}" dt="2021-04-15T07:34:21.687" v="72"/>
        <pc:sldMkLst>
          <pc:docMk/>
          <pc:sldMk cId="3784104885" sldId="346"/>
        </pc:sldMkLst>
        <pc:spChg chg="mod">
          <ac:chgData name="Meyer Raphael (PAR-ES)" userId="79615dfe-ed48-4e74-a40f-4f7b034c1c27" providerId="ADAL" clId="{6DEBFCCA-05D0-4F82-BE10-06920730471D}" dt="2021-04-15T07:33:45.670" v="68"/>
          <ac:spMkLst>
            <pc:docMk/>
            <pc:sldMk cId="3784104885" sldId="346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4:12.033" v="71" actId="14100"/>
          <ac:spMkLst>
            <pc:docMk/>
            <pc:sldMk cId="3784104885" sldId="346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3:55.542" v="69"/>
          <ac:spMkLst>
            <pc:docMk/>
            <pc:sldMk cId="3784104885" sldId="346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1" creationId="{B3348783-C2A3-4CDA-A666-6E1A00E63A0B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2" creationId="{23343D9A-9EA2-4CF4-AF00-C15C92DD69D5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3" creationId="{36EF9DB8-EC1B-44EA-B107-5E0BEDAD9FA1}"/>
          </ac:spMkLst>
        </pc:spChg>
        <pc:spChg chg="add mod">
          <ac:chgData name="Meyer Raphael (PAR-ES)" userId="79615dfe-ed48-4e74-a40f-4f7b034c1c27" providerId="ADAL" clId="{6DEBFCCA-05D0-4F82-BE10-06920730471D}" dt="2021-04-15T07:33:36.815" v="67"/>
          <ac:spMkLst>
            <pc:docMk/>
            <pc:sldMk cId="3784104885" sldId="346"/>
            <ac:spMk id="25" creationId="{CD872F77-2E1A-4EA7-B6C2-6C90748B8F46}"/>
          </ac:spMkLst>
        </pc:spChg>
        <pc:spChg chg="del">
          <ac:chgData name="Meyer Raphael (PAR-ES)" userId="79615dfe-ed48-4e74-a40f-4f7b034c1c27" providerId="ADAL" clId="{6DEBFCCA-05D0-4F82-BE10-06920730471D}" dt="2021-04-15T07:33:19.504" v="66" actId="478"/>
          <ac:spMkLst>
            <pc:docMk/>
            <pc:sldMk cId="3784104885" sldId="346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4:21.687" v="72"/>
          <ac:spMkLst>
            <pc:docMk/>
            <pc:sldMk cId="3784104885" sldId="346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6DEBFCCA-05D0-4F82-BE10-06920730471D}" dt="2021-04-15T07:37:15.896" v="85" actId="14100"/>
        <pc:sldMkLst>
          <pc:docMk/>
          <pc:sldMk cId="502819407" sldId="347"/>
        </pc:sldMkLst>
        <pc:spChg chg="mod">
          <ac:chgData name="Meyer Raphael (PAR-ES)" userId="79615dfe-ed48-4e74-a40f-4f7b034c1c27" providerId="ADAL" clId="{6DEBFCCA-05D0-4F82-BE10-06920730471D}" dt="2021-04-15T07:35:30.837" v="77"/>
          <ac:spMkLst>
            <pc:docMk/>
            <pc:sldMk cId="502819407" sldId="347"/>
            <ac:spMk id="2" creationId="{A2DC317F-F1F4-4624-8FC1-3B68C1DBB3DA}"/>
          </ac:spMkLst>
        </pc:spChg>
        <pc:spChg chg="del mod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6DEBFCCA-05D0-4F82-BE10-06920730471D}" dt="2021-04-15T07:36:58.883" v="83" actId="14100"/>
          <ac:spMkLst>
            <pc:docMk/>
            <pc:sldMk cId="502819407" sldId="347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6DEBFCCA-05D0-4F82-BE10-06920730471D}" dt="2021-04-15T07:36:32.510" v="81"/>
          <ac:spMkLst>
            <pc:docMk/>
            <pc:sldMk cId="502819407" sldId="347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1" creationId="{82E3811D-C7D4-49B1-8DD1-508B7BA22274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2" creationId="{8388360A-31D4-4BF2-A7AC-4BF71303E34C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3" creationId="{029F0FE2-A4C6-4D1B-96E5-87866EDC62C6}"/>
          </ac:spMkLst>
        </pc:spChg>
        <pc:spChg chg="add mod">
          <ac:chgData name="Meyer Raphael (PAR-ES)" userId="79615dfe-ed48-4e74-a40f-4f7b034c1c27" providerId="ADAL" clId="{6DEBFCCA-05D0-4F82-BE10-06920730471D}" dt="2021-04-15T07:35:20.299" v="76"/>
          <ac:spMkLst>
            <pc:docMk/>
            <pc:sldMk cId="502819407" sldId="347"/>
            <ac:spMk id="25" creationId="{CA73F05F-C635-4A84-9267-D4BE4D0AE82C}"/>
          </ac:spMkLst>
        </pc:spChg>
        <pc:spChg chg="del">
          <ac:chgData name="Meyer Raphael (PAR-ES)" userId="79615dfe-ed48-4e74-a40f-4f7b034c1c27" providerId="ADAL" clId="{6DEBFCCA-05D0-4F82-BE10-06920730471D}" dt="2021-04-15T07:35:00.196" v="75" actId="478"/>
          <ac:spMkLst>
            <pc:docMk/>
            <pc:sldMk cId="502819407" sldId="347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6DEBFCCA-05D0-4F82-BE10-06920730471D}" dt="2021-04-15T07:37:15.896" v="85" actId="14100"/>
          <ac:spMkLst>
            <pc:docMk/>
            <pc:sldMk cId="502819407" sldId="347"/>
            <ac:spMk id="27" creationId="{46A6B042-39EE-4A58-BBAA-13D52264B660}"/>
          </ac:spMkLst>
        </pc:spChg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321596445" sldId="347"/>
        </pc:sldMkLst>
      </pc:sldChg>
      <pc:sldChg chg="del">
        <pc:chgData name="Meyer Raphael (PAR-ES)" userId="79615dfe-ed48-4e74-a40f-4f7b034c1c27" providerId="ADAL" clId="{6DEBFCCA-05D0-4F82-BE10-06920730471D}" dt="2021-04-15T07:28:11.029" v="6" actId="47"/>
        <pc:sldMkLst>
          <pc:docMk/>
          <pc:sldMk cId="3052738061" sldId="348"/>
        </pc:sldMkLst>
      </pc:sldChg>
    </pc:docChg>
  </pc:docChgLst>
  <pc:docChgLst>
    <pc:chgData name="Meyer Raphael (PAR-ES)" userId="79615dfe-ed48-4e74-a40f-4f7b034c1c27" providerId="ADAL" clId="{EAA1A0B4-0AC9-439E-AF8B-B8D190C4CB46}"/>
    <pc:docChg chg="modSld">
      <pc:chgData name="Meyer Raphael (PAR-ES)" userId="79615dfe-ed48-4e74-a40f-4f7b034c1c27" providerId="ADAL" clId="{EAA1A0B4-0AC9-439E-AF8B-B8D190C4CB46}" dt="2021-05-28T12:30:01.979" v="43" actId="1037"/>
      <pc:docMkLst>
        <pc:docMk/>
      </pc:docMkLst>
      <pc:sldChg chg="modSp mod">
        <pc:chgData name="Meyer Raphael (PAR-ES)" userId="79615dfe-ed48-4e74-a40f-4f7b034c1c27" providerId="ADAL" clId="{EAA1A0B4-0AC9-439E-AF8B-B8D190C4CB46}" dt="2021-05-28T12:30:01.979" v="43" actId="1037"/>
        <pc:sldMkLst>
          <pc:docMk/>
          <pc:sldMk cId="1495152177" sldId="298"/>
        </pc:sldMkLst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EAA1A0B4-0AC9-439E-AF8B-B8D190C4CB46}" dt="2021-05-28T12:30:01.979" v="43" actId="1037"/>
          <ac:spMkLst>
            <pc:docMk/>
            <pc:sldMk cId="1495152177" sldId="298"/>
            <ac:spMk id="13" creationId="{93412675-62AA-41D8-997C-4E877ED953A8}"/>
          </ac:spMkLst>
        </pc:spChg>
        <pc:cxnChg chg="mod">
          <ac:chgData name="Meyer Raphael (PAR-ES)" userId="79615dfe-ed48-4e74-a40f-4f7b034c1c27" providerId="ADAL" clId="{EAA1A0B4-0AC9-439E-AF8B-B8D190C4CB46}" dt="2021-05-28T12:30:01.979" v="43" actId="1037"/>
          <ac:cxnSpMkLst>
            <pc:docMk/>
            <pc:sldMk cId="1495152177" sldId="298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406498AA-FC02-4732-8D04-74CC3D33B241}"/>
    <pc:docChg chg="addSld modSld">
      <pc:chgData name="Meyer Raphael (PAR-ES)" userId="79615dfe-ed48-4e74-a40f-4f7b034c1c27" providerId="ADAL" clId="{406498AA-FC02-4732-8D04-74CC3D33B241}" dt="2021-10-14T12:43:36.532" v="60" actId="1037"/>
      <pc:docMkLst>
        <pc:docMk/>
      </pc:docMkLst>
      <pc:sldChg chg="modSp add mod">
        <pc:chgData name="Meyer Raphael (PAR-ES)" userId="79615dfe-ed48-4e74-a40f-4f7b034c1c27" providerId="ADAL" clId="{406498AA-FC02-4732-8D04-74CC3D33B241}" dt="2021-10-14T12:40:11.412" v="27" actId="1038"/>
        <pc:sldMkLst>
          <pc:docMk/>
          <pc:sldMk cId="2343299233" sldId="374"/>
        </pc:sldMkLst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0:11.412" v="27" actId="1038"/>
          <ac:spMkLst>
            <pc:docMk/>
            <pc:sldMk cId="2343299233" sldId="374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406498AA-FC02-4732-8D04-74CC3D33B241}" dt="2021-10-14T12:38:46.066" v="18" actId="20577"/>
          <ac:graphicFrameMkLst>
            <pc:docMk/>
            <pc:sldMk cId="2343299233" sldId="374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0:11.412" v="27" actId="1038"/>
          <ac:cxnSpMkLst>
            <pc:docMk/>
            <pc:sldMk cId="2343299233" sldId="374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2:27.536" v="50" actId="1037"/>
        <pc:sldMkLst>
          <pc:docMk/>
          <pc:sldMk cId="3759573184" sldId="375"/>
        </pc:sldMkLst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2:27.536" v="50" actId="1037"/>
          <ac:spMkLst>
            <pc:docMk/>
            <pc:sldMk cId="3759573184" sldId="37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0.765" v="32" actId="20577"/>
          <ac:graphicFrameMkLst>
            <pc:docMk/>
            <pc:sldMk cId="3759573184" sldId="37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2:27.536" v="50" actId="1037"/>
          <ac:cxnSpMkLst>
            <pc:docMk/>
            <pc:sldMk cId="3759573184" sldId="375"/>
            <ac:cxnSpMk id="8" creationId="{6F3EB9D3-E612-42D9-859B-1905BD876C26}"/>
          </ac:cxnSpMkLst>
        </pc:cxnChg>
      </pc:sldChg>
      <pc:sldChg chg="modSp add mod">
        <pc:chgData name="Meyer Raphael (PAR-ES)" userId="79615dfe-ed48-4e74-a40f-4f7b034c1c27" providerId="ADAL" clId="{406498AA-FC02-4732-8D04-74CC3D33B241}" dt="2021-10-14T12:43:36.532" v="60" actId="1037"/>
        <pc:sldMkLst>
          <pc:docMk/>
          <pc:sldMk cId="3027727826" sldId="376"/>
        </pc:sldMkLst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406498AA-FC02-4732-8D04-74CC3D33B241}" dt="2021-10-14T12:43:36.532" v="60" actId="1037"/>
          <ac:spMkLst>
            <pc:docMk/>
            <pc:sldMk cId="3027727826" sldId="37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406498AA-FC02-4732-8D04-74CC3D33B241}" dt="2021-10-14T12:40:48.677" v="37" actId="20577"/>
          <ac:graphicFrameMkLst>
            <pc:docMk/>
            <pc:sldMk cId="3027727826" sldId="37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406498AA-FC02-4732-8D04-74CC3D33B241}" dt="2021-10-14T12:43:36.532" v="60" actId="1037"/>
          <ac:cxnSpMkLst>
            <pc:docMk/>
            <pc:sldMk cId="3027727826" sldId="376"/>
            <ac:cxnSpMk id="8" creationId="{6F3EB9D3-E612-42D9-859B-1905BD876C26}"/>
          </ac:cxnSpMkLst>
        </pc:cxnChg>
      </pc:sldChg>
    </pc:docChg>
  </pc:docChgLst>
  <pc:docChgLst>
    <pc:chgData name="Weigel Stefan (PAR-EPS)" userId="fd3b2067-2981-4ad8-bf3a-d2e1004e4fa8" providerId="ADAL" clId="{BF7BC7E7-8980-4DA8-AC52-BB8231A3306E}"/>
    <pc:docChg chg="modSld">
      <pc:chgData name="Weigel Stefan (PAR-EPS)" userId="fd3b2067-2981-4ad8-bf3a-d2e1004e4fa8" providerId="ADAL" clId="{BF7BC7E7-8980-4DA8-AC52-BB8231A3306E}" dt="2024-02-28T14:00:12.998" v="82" actId="27918"/>
      <pc:docMkLst>
        <pc:docMk/>
      </pc:docMkLst>
      <pc:sldChg chg="modSp mod">
        <pc:chgData name="Weigel Stefan (PAR-EPS)" userId="fd3b2067-2981-4ad8-bf3a-d2e1004e4fa8" providerId="ADAL" clId="{BF7BC7E7-8980-4DA8-AC52-BB8231A3306E}" dt="2024-02-28T14:00:12.998" v="82" actId="27918"/>
        <pc:sldMkLst>
          <pc:docMk/>
          <pc:sldMk cId="3808035539" sldId="270"/>
        </pc:sldMkLst>
        <pc:spChg chg="mod">
          <ac:chgData name="Weigel Stefan (PAR-EPS)" userId="fd3b2067-2981-4ad8-bf3a-d2e1004e4fa8" providerId="ADAL" clId="{BF7BC7E7-8980-4DA8-AC52-BB8231A3306E}" dt="2024-02-12T18:08:36.657" v="44" actId="20577"/>
          <ac:spMkLst>
            <pc:docMk/>
            <pc:sldMk cId="3808035539" sldId="270"/>
            <ac:spMk id="2" creationId="{00000000-0000-0000-0000-000000000000}"/>
          </ac:spMkLst>
        </pc:spChg>
        <pc:spChg chg="mod">
          <ac:chgData name="Weigel Stefan (PAR-EPS)" userId="fd3b2067-2981-4ad8-bf3a-d2e1004e4fa8" providerId="ADAL" clId="{BF7BC7E7-8980-4DA8-AC52-BB8231A3306E}" dt="2024-02-12T18:09:04.692" v="68" actId="20577"/>
          <ac:spMkLst>
            <pc:docMk/>
            <pc:sldMk cId="3808035539" sldId="270"/>
            <ac:spMk id="12" creationId="{5951AA1F-1F78-4199-A377-9885C86C21AF}"/>
          </ac:spMkLst>
        </pc:spChg>
        <pc:graphicFrameChg chg="mod">
          <ac:chgData name="Weigel Stefan (PAR-EPS)" userId="fd3b2067-2981-4ad8-bf3a-d2e1004e4fa8" providerId="ADAL" clId="{BF7BC7E7-8980-4DA8-AC52-BB8231A3306E}" dt="2024-02-13T15:32:59.687" v="78" actId="207"/>
          <ac:graphicFrameMkLst>
            <pc:docMk/>
            <pc:sldMk cId="3808035539" sldId="270"/>
            <ac:graphicFrameMk id="9" creationId="{00000000-0000-0000-0000-000000000000}"/>
          </ac:graphicFrameMkLst>
        </pc:graphicFrameChg>
      </pc:sldChg>
    </pc:docChg>
  </pc:docChgLst>
  <pc:docChgLst>
    <pc:chgData name="Meyer Raphael (PAR-ES)" userId="79615dfe-ed48-4e74-a40f-4f7b034c1c27" providerId="ADAL" clId="{E9CDB45E-1140-4018-8EC9-33D2ECEB95F1}"/>
    <pc:docChg chg="undo custSel modSld sldOrd">
      <pc:chgData name="Meyer Raphael (PAR-ES)" userId="79615dfe-ed48-4e74-a40f-4f7b034c1c27" providerId="ADAL" clId="{E9CDB45E-1140-4018-8EC9-33D2ECEB95F1}" dt="2021-06-17T07:29:28.117" v="133" actId="27918"/>
      <pc:docMkLst>
        <pc:docMk/>
      </pc:docMkLst>
      <pc:sldChg chg="modSp mod ord">
        <pc:chgData name="Meyer Raphael (PAR-ES)" userId="79615dfe-ed48-4e74-a40f-4f7b034c1c27" providerId="ADAL" clId="{E9CDB45E-1140-4018-8EC9-33D2ECEB95F1}" dt="2021-06-17T07:27:44.033" v="126" actId="20577"/>
        <pc:sldMkLst>
          <pc:docMk/>
          <pc:sldMk cId="1495152177" sldId="298"/>
        </pc:sldMkLst>
        <pc:graphicFrameChg chg="modGraphic">
          <ac:chgData name="Meyer Raphael (PAR-ES)" userId="79615dfe-ed48-4e74-a40f-4f7b034c1c27" providerId="ADAL" clId="{E9CDB45E-1140-4018-8EC9-33D2ECEB95F1}" dt="2021-06-17T07:27:44.033" v="126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1667945532" sldId="306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4233813445" sldId="361"/>
        </pc:sldMkLst>
      </pc:sldChg>
      <pc:sldChg chg="modTransition">
        <pc:chgData name="Meyer Raphael (PAR-ES)" userId="79615dfe-ed48-4e74-a40f-4f7b034c1c27" providerId="ADAL" clId="{E9CDB45E-1140-4018-8EC9-33D2ECEB95F1}" dt="2021-06-17T07:27:32.144" v="124"/>
        <pc:sldMkLst>
          <pc:docMk/>
          <pc:sldMk cId="2720568063" sldId="362"/>
        </pc:sldMkLst>
      </pc:sldChg>
      <pc:sldChg chg="modSp mod ord">
        <pc:chgData name="Meyer Raphael (PAR-ES)" userId="79615dfe-ed48-4e74-a40f-4f7b034c1c27" providerId="ADAL" clId="{E9CDB45E-1140-4018-8EC9-33D2ECEB95F1}" dt="2021-06-17T07:29:28.117" v="133" actId="27918"/>
        <pc:sldMkLst>
          <pc:docMk/>
          <pc:sldMk cId="3590012689" sldId="365"/>
        </pc:sldMkLst>
        <pc:spChg chg="mod">
          <ac:chgData name="Meyer Raphael (PAR-ES)" userId="79615dfe-ed48-4e74-a40f-4f7b034c1c27" providerId="ADAL" clId="{E9CDB45E-1140-4018-8EC9-33D2ECEB95F1}" dt="2021-06-16T12:02:45.223" v="40" actId="1076"/>
          <ac:spMkLst>
            <pc:docMk/>
            <pc:sldMk cId="3590012689" sldId="365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2:38.755" v="39" actId="2084"/>
          <ac:graphicFrameMkLst>
            <pc:docMk/>
            <pc:sldMk cId="3590012689" sldId="365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49.046" v="128" actId="20577"/>
          <ac:graphicFrameMkLst>
            <pc:docMk/>
            <pc:sldMk cId="3590012689" sldId="365"/>
            <ac:graphicFrameMk id="9" creationId="{E1369C63-C4A7-403B-A03F-B004599F910A}"/>
          </ac:graphicFrameMkLst>
        </pc:graphicFrameChg>
      </pc:sldChg>
      <pc:sldChg chg="modSp mod ord">
        <pc:chgData name="Meyer Raphael (PAR-ES)" userId="79615dfe-ed48-4e74-a40f-4f7b034c1c27" providerId="ADAL" clId="{E9CDB45E-1140-4018-8EC9-33D2ECEB95F1}" dt="2021-06-17T07:27:52.158" v="130" actId="20577"/>
        <pc:sldMkLst>
          <pc:docMk/>
          <pc:sldMk cId="689864941" sldId="366"/>
        </pc:sldMkLst>
        <pc:spChg chg="mod">
          <ac:chgData name="Meyer Raphael (PAR-ES)" userId="79615dfe-ed48-4e74-a40f-4f7b034c1c27" providerId="ADAL" clId="{E9CDB45E-1140-4018-8EC9-33D2ECEB95F1}" dt="2021-06-16T12:03:59.776" v="47" actId="1076"/>
          <ac:spMkLst>
            <pc:docMk/>
            <pc:sldMk cId="689864941" sldId="366"/>
            <ac:spMk id="6" creationId="{0EEE4EA3-E16E-424B-97F9-53A8F5D585AE}"/>
          </ac:spMkLst>
        </pc:spChg>
        <pc:graphicFrameChg chg="mod">
          <ac:chgData name="Meyer Raphael (PAR-ES)" userId="79615dfe-ed48-4e74-a40f-4f7b034c1c27" providerId="ADAL" clId="{E9CDB45E-1140-4018-8EC9-33D2ECEB95F1}" dt="2021-06-16T12:03:53.131" v="45" actId="2084"/>
          <ac:graphicFrameMkLst>
            <pc:docMk/>
            <pc:sldMk cId="689864941" sldId="366"/>
            <ac:graphicFrameMk id="5" creationId="{4CF6AB8B-CAB9-4C7E-8E59-E00357A4D7F0}"/>
          </ac:graphicFrameMkLst>
        </pc:graphicFrameChg>
        <pc:graphicFrameChg chg="mod modGraphic">
          <ac:chgData name="Meyer Raphael (PAR-ES)" userId="79615dfe-ed48-4e74-a40f-4f7b034c1c27" providerId="ADAL" clId="{E9CDB45E-1140-4018-8EC9-33D2ECEB95F1}" dt="2021-06-17T07:27:52.158" v="130" actId="20577"/>
          <ac:graphicFrameMkLst>
            <pc:docMk/>
            <pc:sldMk cId="689864941" sldId="366"/>
            <ac:graphicFrameMk id="9" creationId="{E1369C63-C4A7-403B-A03F-B004599F910A}"/>
          </ac:graphicFrameMkLst>
        </pc:graphicFrameChg>
      </pc:sldChg>
    </pc:docChg>
  </pc:docChgLst>
  <pc:docChgLst>
    <pc:chgData name="Meyer Raphael (PAR-ES)" userId="79615dfe-ed48-4e74-a40f-4f7b034c1c27" providerId="ADAL" clId="{138FBAD4-A7EE-47CF-8A8C-1E7C2BC2F598}"/>
    <pc:docChg chg="modSld">
      <pc:chgData name="Meyer Raphael (PAR-ES)" userId="79615dfe-ed48-4e74-a40f-4f7b034c1c27" providerId="ADAL" clId="{138FBAD4-A7EE-47CF-8A8C-1E7C2BC2F598}" dt="2021-08-13T11:00:10.357" v="99" actId="1037"/>
      <pc:docMkLst>
        <pc:docMk/>
      </pc:docMkLst>
      <pc:sldChg chg="modSp mod">
        <pc:chgData name="Meyer Raphael (PAR-ES)" userId="79615dfe-ed48-4e74-a40f-4f7b034c1c27" providerId="ADAL" clId="{138FBAD4-A7EE-47CF-8A8C-1E7C2BC2F598}" dt="2021-08-13T10:55:33.649" v="43" actId="1038"/>
        <pc:sldMkLst>
          <pc:docMk/>
          <pc:sldMk cId="1495152177" sldId="298"/>
        </pc:sldMkLst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5:33.649" v="43" actId="1038"/>
          <ac:spMkLst>
            <pc:docMk/>
            <pc:sldMk cId="1495152177" sldId="298"/>
            <ac:spMk id="13" creationId="{93412675-62AA-41D8-997C-4E877ED953A8}"/>
          </ac:spMkLst>
        </pc:spChg>
        <pc:graphicFrameChg chg="modGraphic">
          <ac:chgData name="Meyer Raphael (PAR-ES)" userId="79615dfe-ed48-4e74-a40f-4f7b034c1c27" providerId="ADAL" clId="{138FBAD4-A7EE-47CF-8A8C-1E7C2BC2F598}" dt="2021-08-13T10:49:35.522" v="13" actId="20577"/>
          <ac:graphicFrameMkLst>
            <pc:docMk/>
            <pc:sldMk cId="1495152177" sldId="298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5:33.649" v="43" actId="1038"/>
          <ac:cxnSpMkLst>
            <pc:docMk/>
            <pc:sldMk cId="1495152177" sldId="298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0:58:05.346" v="68" actId="1038"/>
        <pc:sldMkLst>
          <pc:docMk/>
          <pc:sldMk cId="3590012689" sldId="365"/>
        </pc:sldMkLst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0:58:05.346" v="68" actId="1038"/>
          <ac:spMkLst>
            <pc:docMk/>
            <pc:sldMk cId="3590012689" sldId="365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2.192" v="14"/>
          <ac:graphicFrameMkLst>
            <pc:docMk/>
            <pc:sldMk cId="3590012689" sldId="365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0:58:05.346" v="68" actId="1038"/>
          <ac:cxnSpMkLst>
            <pc:docMk/>
            <pc:sldMk cId="3590012689" sldId="365"/>
            <ac:cxnSpMk id="8" creationId="{6F3EB9D3-E612-42D9-859B-1905BD876C26}"/>
          </ac:cxnSpMkLst>
        </pc:cxnChg>
      </pc:sldChg>
      <pc:sldChg chg="modSp mod">
        <pc:chgData name="Meyer Raphael (PAR-ES)" userId="79615dfe-ed48-4e74-a40f-4f7b034c1c27" providerId="ADAL" clId="{138FBAD4-A7EE-47CF-8A8C-1E7C2BC2F598}" dt="2021-08-13T11:00:10.357" v="99" actId="1037"/>
        <pc:sldMkLst>
          <pc:docMk/>
          <pc:sldMk cId="689864941" sldId="366"/>
        </pc:sldMkLst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2" creationId="{970D2C07-63A2-4265-B006-56F685FE80A5}"/>
          </ac:spMkLst>
        </pc:spChg>
        <pc:spChg chg="mod">
          <ac:chgData name="Meyer Raphael (PAR-ES)" userId="79615dfe-ed48-4e74-a40f-4f7b034c1c27" providerId="ADAL" clId="{138FBAD4-A7EE-47CF-8A8C-1E7C2BC2F598}" dt="2021-08-13T11:00:10.357" v="99" actId="1037"/>
          <ac:spMkLst>
            <pc:docMk/>
            <pc:sldMk cId="689864941" sldId="366"/>
            <ac:spMk id="13" creationId="{93412675-62AA-41D8-997C-4E877ED953A8}"/>
          </ac:spMkLst>
        </pc:spChg>
        <pc:graphicFrameChg chg="mod modGraphic">
          <ac:chgData name="Meyer Raphael (PAR-ES)" userId="79615dfe-ed48-4e74-a40f-4f7b034c1c27" providerId="ADAL" clId="{138FBAD4-A7EE-47CF-8A8C-1E7C2BC2F598}" dt="2021-08-13T10:49:56.922" v="15"/>
          <ac:graphicFrameMkLst>
            <pc:docMk/>
            <pc:sldMk cId="689864941" sldId="366"/>
            <ac:graphicFrameMk id="9" creationId="{E1369C63-C4A7-403B-A03F-B004599F910A}"/>
          </ac:graphicFrameMkLst>
        </pc:graphicFrameChg>
        <pc:cxnChg chg="mod">
          <ac:chgData name="Meyer Raphael (PAR-ES)" userId="79615dfe-ed48-4e74-a40f-4f7b034c1c27" providerId="ADAL" clId="{138FBAD4-A7EE-47CF-8A8C-1E7C2BC2F598}" dt="2021-08-13T11:00:10.357" v="99" actId="1037"/>
          <ac:cxnSpMkLst>
            <pc:docMk/>
            <pc:sldMk cId="689864941" sldId="366"/>
            <ac:cxnSpMk id="8" creationId="{6F3EB9D3-E612-42D9-859B-1905BD876C26}"/>
          </ac:cxnSpMkLst>
        </pc:cxnChg>
      </pc:sldChg>
    </pc:docChg>
  </pc:docChgLst>
  <pc:docChgLst>
    <pc:chgData name="Meyer Raphael (PAR-ES)" userId="79615dfe-ed48-4e74-a40f-4f7b034c1c27" providerId="ADAL" clId="{3868D7A6-4E51-4910-8227-BB5E5AE62424}"/>
    <pc:docChg chg="undo custSel addSld delSld modSld sldOrd">
      <pc:chgData name="Meyer Raphael (PAR-ES)" userId="79615dfe-ed48-4e74-a40f-4f7b034c1c27" providerId="ADAL" clId="{3868D7A6-4E51-4910-8227-BB5E5AE62424}" dt="2021-06-11T07:18:27.335" v="86" actId="2696"/>
      <pc:docMkLst>
        <pc:docMk/>
      </pc:docMkLst>
      <pc:sldChg chg="addSp delSp modSp mod">
        <pc:chgData name="Meyer Raphael (PAR-ES)" userId="79615dfe-ed48-4e74-a40f-4f7b034c1c27" providerId="ADAL" clId="{3868D7A6-4E51-4910-8227-BB5E5AE62424}" dt="2021-06-11T07:15:23.082" v="60" actId="1076"/>
        <pc:sldMkLst>
          <pc:docMk/>
          <pc:sldMk cId="1667945532" sldId="306"/>
        </pc:sldMkLst>
        <pc:spChg chg="mod">
          <ac:chgData name="Meyer Raphael (PAR-ES)" userId="79615dfe-ed48-4e74-a40f-4f7b034c1c27" providerId="ADAL" clId="{3868D7A6-4E51-4910-8227-BB5E5AE62424}" dt="2021-06-11T07:07:25.091" v="7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868D7A6-4E51-4910-8227-BB5E5AE62424}" dt="2021-06-11T07:07:50.930" v="17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868D7A6-4E51-4910-8227-BB5E5AE62424}" dt="2021-06-11T07:15:23.082" v="60" actId="1076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868D7A6-4E51-4910-8227-BB5E5AE62424}" dt="2021-06-11T07:08:01.788" v="21" actId="20577"/>
          <ac:spMkLst>
            <pc:docMk/>
            <pc:sldMk cId="1667945532" sldId="306"/>
            <ac:spMk id="31" creationId="{7491A47D-CAD4-478D-8F3A-296FFCB799F9}"/>
          </ac:spMkLst>
        </pc:spChg>
        <pc:spChg chg="add del mod">
          <ac:chgData name="Meyer Raphael (PAR-ES)" userId="79615dfe-ed48-4e74-a40f-4f7b034c1c27" providerId="ADAL" clId="{3868D7A6-4E51-4910-8227-BB5E5AE62424}" dt="2021-06-11T07:11:06.659" v="40" actId="1076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868D7A6-4E51-4910-8227-BB5E5AE62424}" dt="2021-06-11T07:15:13.927" v="59"/>
          <ac:graphicFrameMkLst>
            <pc:docMk/>
            <pc:sldMk cId="1667945532" sldId="306"/>
            <ac:graphicFrameMk id="24" creationId="{B6049B58-D743-4BF8-ADBD-2CBD12961E56}"/>
          </ac:graphicFrameMkLst>
        </pc:graphicFrameChg>
      </pc:sldChg>
      <pc:sldChg chg="modSp del mod">
        <pc:chgData name="Meyer Raphael (PAR-ES)" userId="79615dfe-ed48-4e74-a40f-4f7b034c1c27" providerId="ADAL" clId="{3868D7A6-4E51-4910-8227-BB5E5AE62424}" dt="2021-06-11T07:16:56.014" v="75" actId="47"/>
        <pc:sldMkLst>
          <pc:docMk/>
          <pc:sldMk cId="1357620443" sldId="359"/>
        </pc:sldMkLst>
        <pc:spChg chg="mod">
          <ac:chgData name="Meyer Raphael (PAR-ES)" userId="79615dfe-ed48-4e74-a40f-4f7b034c1c27" providerId="ADAL" clId="{3868D7A6-4E51-4910-8227-BB5E5AE62424}" dt="2021-06-11T07:16:28.462" v="72" actId="1076"/>
          <ac:spMkLst>
            <pc:docMk/>
            <pc:sldMk cId="1357620443" sldId="359"/>
            <ac:spMk id="2" creationId="{A2DC317F-F1F4-4624-8FC1-3B68C1DBB3DA}"/>
          </ac:spMkLst>
        </pc:spChg>
      </pc:sldChg>
      <pc:sldChg chg="modSp del mod">
        <pc:chgData name="Meyer Raphael (PAR-ES)" userId="79615dfe-ed48-4e74-a40f-4f7b034c1c27" providerId="ADAL" clId="{3868D7A6-4E51-4910-8227-BB5E5AE62424}" dt="2021-06-11T07:18:27.335" v="86" actId="2696"/>
        <pc:sldMkLst>
          <pc:docMk/>
          <pc:sldMk cId="2316055797" sldId="360"/>
        </pc:sldMkLst>
        <pc:spChg chg="mod">
          <ac:chgData name="Meyer Raphael (PAR-ES)" userId="79615dfe-ed48-4e74-a40f-4f7b034c1c27" providerId="ADAL" clId="{3868D7A6-4E51-4910-8227-BB5E5AE62424}" dt="2021-06-11T07:18:13.047" v="84" actId="21"/>
          <ac:spMkLst>
            <pc:docMk/>
            <pc:sldMk cId="2316055797" sldId="360"/>
            <ac:spMk id="8" creationId="{5857C2A1-2CB8-4D4A-AEFD-E809BF73D04F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6:43.150" v="74"/>
        <pc:sldMkLst>
          <pc:docMk/>
          <pc:sldMk cId="4233813445" sldId="361"/>
        </pc:sldMkLst>
        <pc:spChg chg="mod">
          <ac:chgData name="Meyer Raphael (PAR-ES)" userId="79615dfe-ed48-4e74-a40f-4f7b034c1c27" providerId="ADAL" clId="{3868D7A6-4E51-4910-8227-BB5E5AE62424}" dt="2021-06-11T07:16:14.668" v="69"/>
          <ac:spMkLst>
            <pc:docMk/>
            <pc:sldMk cId="4233813445" sldId="36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6:43.150" v="74"/>
          <ac:spMkLst>
            <pc:docMk/>
            <pc:sldMk cId="4233813445" sldId="36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6:22.590" v="70"/>
          <ac:spMkLst>
            <pc:docMk/>
            <pc:sldMk cId="4233813445" sldId="36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1" creationId="{CFB058F8-83B6-4C65-9942-5E7EF730245F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2" creationId="{6546A983-7F99-41C9-BC0A-EA422CEC0B6C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3" creationId="{A5CDB6A2-6783-4CA4-A683-86C15BF17E48}"/>
          </ac:spMkLst>
        </pc:spChg>
        <pc:spChg chg="add mod">
          <ac:chgData name="Meyer Raphael (PAR-ES)" userId="79615dfe-ed48-4e74-a40f-4f7b034c1c27" providerId="ADAL" clId="{3868D7A6-4E51-4910-8227-BB5E5AE62424}" dt="2021-06-11T07:15:50.242" v="68"/>
          <ac:spMkLst>
            <pc:docMk/>
            <pc:sldMk cId="4233813445" sldId="361"/>
            <ac:spMk id="25" creationId="{4A25BD2A-D11D-4F62-AE82-D86449E80A7E}"/>
          </ac:spMkLst>
        </pc:spChg>
        <pc:spChg chg="del">
          <ac:chgData name="Meyer Raphael (PAR-ES)" userId="79615dfe-ed48-4e74-a40f-4f7b034c1c27" providerId="ADAL" clId="{3868D7A6-4E51-4910-8227-BB5E5AE62424}" dt="2021-06-11T07:15:41.424" v="67" actId="478"/>
          <ac:spMkLst>
            <pc:docMk/>
            <pc:sldMk cId="4233813445" sldId="36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6:36.627" v="73"/>
          <ac:spMkLst>
            <pc:docMk/>
            <pc:sldMk cId="4233813445" sldId="361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868D7A6-4E51-4910-8227-BB5E5AE62424}" dt="2021-06-11T07:18:16.099" v="85"/>
        <pc:sldMkLst>
          <pc:docMk/>
          <pc:sldMk cId="2720568063" sldId="362"/>
        </pc:sldMkLst>
        <pc:spChg chg="mod">
          <ac:chgData name="Meyer Raphael (PAR-ES)" userId="79615dfe-ed48-4e74-a40f-4f7b034c1c27" providerId="ADAL" clId="{3868D7A6-4E51-4910-8227-BB5E5AE62424}" dt="2021-06-11T07:17:16.070" v="76"/>
          <ac:spMkLst>
            <pc:docMk/>
            <pc:sldMk cId="2720568063" sldId="362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868D7A6-4E51-4910-8227-BB5E5AE62424}" dt="2021-06-11T07:18:16.099" v="85"/>
          <ac:spMkLst>
            <pc:docMk/>
            <pc:sldMk cId="2720568063" sldId="362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868D7A6-4E51-4910-8227-BB5E5AE62424}" dt="2021-06-11T07:17:40.247" v="79"/>
          <ac:spMkLst>
            <pc:docMk/>
            <pc:sldMk cId="2720568063" sldId="362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1" creationId="{41B2A410-111D-481C-B353-CF7DAC144AA4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2" creationId="{4BE7A2DC-2AE8-42BE-8158-98D7D2DB0673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3" creationId="{0E582E98-645C-4BB8-846C-362178056670}"/>
          </ac:spMkLst>
        </pc:spChg>
        <pc:spChg chg="add mod">
          <ac:chgData name="Meyer Raphael (PAR-ES)" userId="79615dfe-ed48-4e74-a40f-4f7b034c1c27" providerId="ADAL" clId="{3868D7A6-4E51-4910-8227-BB5E5AE62424}" dt="2021-06-11T07:17:29.877" v="78"/>
          <ac:spMkLst>
            <pc:docMk/>
            <pc:sldMk cId="2720568063" sldId="362"/>
            <ac:spMk id="25" creationId="{5C63190D-FBEA-4E90-B8D2-2364808E268A}"/>
          </ac:spMkLst>
        </pc:spChg>
        <pc:spChg chg="del">
          <ac:chgData name="Meyer Raphael (PAR-ES)" userId="79615dfe-ed48-4e74-a40f-4f7b034c1c27" providerId="ADAL" clId="{3868D7A6-4E51-4910-8227-BB5E5AE62424}" dt="2021-06-11T07:17:22.209" v="77" actId="478"/>
          <ac:spMkLst>
            <pc:docMk/>
            <pc:sldMk cId="2720568063" sldId="362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868D7A6-4E51-4910-8227-BB5E5AE62424}" dt="2021-06-11T07:18:08.051" v="83" actId="14100"/>
          <ac:spMkLst>
            <pc:docMk/>
            <pc:sldMk cId="2720568063" sldId="362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132FF8F2-48C6-41EE-8CF3-667233E80772}"/>
    <pc:docChg chg="undo custSel modSld">
      <pc:chgData name="Meyer Raphael (PAR-ES)" userId="79615dfe-ed48-4e74-a40f-4f7b034c1c27" providerId="ADAL" clId="{132FF8F2-48C6-41EE-8CF3-667233E80772}" dt="2021-10-27T08:27:44.495" v="31" actId="20577"/>
      <pc:docMkLst>
        <pc:docMk/>
      </pc:docMkLst>
      <pc:sldChg chg="modSp mod">
        <pc:chgData name="Meyer Raphael (PAR-ES)" userId="79615dfe-ed48-4e74-a40f-4f7b034c1c27" providerId="ADAL" clId="{132FF8F2-48C6-41EE-8CF3-667233E80772}" dt="2021-10-27T08:27:44.495" v="31" actId="20577"/>
        <pc:sldMkLst>
          <pc:docMk/>
          <pc:sldMk cId="200941906" sldId="419"/>
        </pc:sldMkLst>
        <pc:spChg chg="mod">
          <ac:chgData name="Meyer Raphael (PAR-ES)" userId="79615dfe-ed48-4e74-a40f-4f7b034c1c27" providerId="ADAL" clId="{132FF8F2-48C6-41EE-8CF3-667233E80772}" dt="2021-10-27T08:27:44.495" v="31" actId="20577"/>
          <ac:spMkLst>
            <pc:docMk/>
            <pc:sldMk cId="200941906" sldId="419"/>
            <ac:spMk id="19" creationId="{C9D68B27-6022-4C1D-A210-C0037BB4C784}"/>
          </ac:spMkLst>
        </pc:spChg>
      </pc:sldChg>
      <pc:sldChg chg="modSp mod">
        <pc:chgData name="Meyer Raphael (PAR-ES)" userId="79615dfe-ed48-4e74-a40f-4f7b034c1c27" providerId="ADAL" clId="{132FF8F2-48C6-41EE-8CF3-667233E80772}" dt="2021-10-27T08:27:39.280" v="29" actId="20577"/>
        <pc:sldMkLst>
          <pc:docMk/>
          <pc:sldMk cId="3299254992" sldId="420"/>
        </pc:sldMkLst>
        <pc:spChg chg="mod">
          <ac:chgData name="Meyer Raphael (PAR-ES)" userId="79615dfe-ed48-4e74-a40f-4f7b034c1c27" providerId="ADAL" clId="{132FF8F2-48C6-41EE-8CF3-667233E80772}" dt="2021-10-27T08:27:39.280" v="29" actId="20577"/>
          <ac:spMkLst>
            <pc:docMk/>
            <pc:sldMk cId="3299254992" sldId="420"/>
            <ac:spMk id="21" creationId="{4B90160B-6648-45BB-A5C3-EB5B31E56152}"/>
          </ac:spMkLst>
        </pc:spChg>
      </pc:sldChg>
    </pc:docChg>
  </pc:docChgLst>
  <pc:docChgLst>
    <pc:chgData name="Meyer Raphael (PAR-ES)" userId="79615dfe-ed48-4e74-a40f-4f7b034c1c27" providerId="ADAL" clId="{59F3F2DD-0AA0-41E9-9702-E67125B6C64F}"/>
    <pc:docChg chg="delSld">
      <pc:chgData name="Meyer Raphael (PAR-ES)" userId="79615dfe-ed48-4e74-a40f-4f7b034c1c27" providerId="ADAL" clId="{59F3F2DD-0AA0-41E9-9702-E67125B6C64F}" dt="2022-03-03T14:01:24.929" v="0" actId="47"/>
      <pc:docMkLst>
        <pc:docMk/>
      </pc:docMkLst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421447817" sldId="271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1823063743" sldId="272"/>
        </pc:sldMkLst>
      </pc:sldChg>
      <pc:sldChg chg="del">
        <pc:chgData name="Meyer Raphael (PAR-ES)" userId="79615dfe-ed48-4e74-a40f-4f7b034c1c27" providerId="ADAL" clId="{59F3F2DD-0AA0-41E9-9702-E67125B6C64F}" dt="2022-03-03T14:01:24.929" v="0" actId="47"/>
        <pc:sldMkLst>
          <pc:docMk/>
          <pc:sldMk cId="3044751883" sldId="273"/>
        </pc:sldMkLst>
      </pc:sldChg>
    </pc:docChg>
  </pc:docChgLst>
  <pc:docChgLst>
    <pc:chgData name="Meyer Raphael (PAR-ES)" userId="79615dfe-ed48-4e74-a40f-4f7b034c1c27" providerId="ADAL" clId="{0919502C-317E-4EA9-B6B6-94BE89C311B1}"/>
    <pc:docChg chg="modSld">
      <pc:chgData name="Meyer Raphael (PAR-ES)" userId="79615dfe-ed48-4e74-a40f-4f7b034c1c27" providerId="ADAL" clId="{0919502C-317E-4EA9-B6B6-94BE89C311B1}" dt="2021-10-19T06:54:48.430" v="147" actId="1036"/>
      <pc:docMkLst>
        <pc:docMk/>
      </pc:docMkLst>
      <pc:sldChg chg="modSp mod">
        <pc:chgData name="Meyer Raphael (PAR-ES)" userId="79615dfe-ed48-4e74-a40f-4f7b034c1c27" providerId="ADAL" clId="{0919502C-317E-4EA9-B6B6-94BE89C311B1}" dt="2021-10-19T06:54:48.430" v="147" actId="1036"/>
        <pc:sldMkLst>
          <pc:docMk/>
          <pc:sldMk cId="1537997412" sldId="373"/>
        </pc:sldMkLst>
        <pc:spChg chg="mod">
          <ac:chgData name="Meyer Raphael (PAR-ES)" userId="79615dfe-ed48-4e74-a40f-4f7b034c1c27" providerId="ADAL" clId="{0919502C-317E-4EA9-B6B6-94BE89C311B1}" dt="2021-10-19T06:54:40.279" v="127" actId="1035"/>
          <ac:spMkLst>
            <pc:docMk/>
            <pc:sldMk cId="1537997412" sldId="373"/>
            <ac:spMk id="6" creationId="{8C570F95-0775-4F12-8DDA-DD52CE7241CC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16" creationId="{12071265-4F7A-4F0C-9EDF-46D776DCEF56}"/>
          </ac:spMkLst>
        </pc:spChg>
        <pc:spChg chg="mod">
          <ac:chgData name="Meyer Raphael (PAR-ES)" userId="79615dfe-ed48-4e74-a40f-4f7b034c1c27" providerId="ADAL" clId="{0919502C-317E-4EA9-B6B6-94BE89C311B1}" dt="2021-10-19T06:54:48.430" v="147" actId="1036"/>
          <ac:spMkLst>
            <pc:docMk/>
            <pc:sldMk cId="1537997412" sldId="373"/>
            <ac:spMk id="22" creationId="{B3F5B9B8-EDA8-430F-83AA-59E4DAA4DCA3}"/>
          </ac:spMkLst>
        </pc:spChg>
        <pc:spChg chg="mod">
          <ac:chgData name="Meyer Raphael (PAR-ES)" userId="79615dfe-ed48-4e74-a40f-4f7b034c1c27" providerId="ADAL" clId="{0919502C-317E-4EA9-B6B6-94BE89C311B1}" dt="2021-10-19T06:54:35.649" v="126" actId="14100"/>
          <ac:spMkLst>
            <pc:docMk/>
            <pc:sldMk cId="1537997412" sldId="373"/>
            <ac:spMk id="24" creationId="{FD07A55C-6879-4E52-B5A8-38679864E2FC}"/>
          </ac:spMkLst>
        </pc:spChg>
        <pc:cxnChg chg="mod">
          <ac:chgData name="Meyer Raphael (PAR-ES)" userId="79615dfe-ed48-4e74-a40f-4f7b034c1c27" providerId="ADAL" clId="{0919502C-317E-4EA9-B6B6-94BE89C311B1}" dt="2021-10-19T06:54:19.707" v="111" actId="1035"/>
          <ac:cxnSpMkLst>
            <pc:docMk/>
            <pc:sldMk cId="1537997412" sldId="373"/>
            <ac:cxnSpMk id="17" creationId="{ADB86D40-94DA-4EA6-A13C-F322B879613C}"/>
          </ac:cxnSpMkLst>
        </pc:cxnChg>
        <pc:cxnChg chg="mod">
          <ac:chgData name="Meyer Raphael (PAR-ES)" userId="79615dfe-ed48-4e74-a40f-4f7b034c1c27" providerId="ADAL" clId="{0919502C-317E-4EA9-B6B6-94BE89C311B1}" dt="2021-10-19T06:53:41.516" v="47" actId="14100"/>
          <ac:cxnSpMkLst>
            <pc:docMk/>
            <pc:sldMk cId="1537997412" sldId="373"/>
            <ac:cxnSpMk id="18" creationId="{4AD487EB-8B7D-42D2-9F65-FA2AF08A717F}"/>
          </ac:cxnSpMkLst>
        </pc:cxnChg>
        <pc:cxnChg chg="mod">
          <ac:chgData name="Meyer Raphael (PAR-ES)" userId="79615dfe-ed48-4e74-a40f-4f7b034c1c27" providerId="ADAL" clId="{0919502C-317E-4EA9-B6B6-94BE89C311B1}" dt="2021-10-19T06:53:50.952" v="63" actId="14100"/>
          <ac:cxnSpMkLst>
            <pc:docMk/>
            <pc:sldMk cId="1537997412" sldId="373"/>
            <ac:cxnSpMk id="21" creationId="{70B5456D-B5DD-4516-B6A3-B39AEE671B52}"/>
          </ac:cxnSpMkLst>
        </pc:cxnChg>
      </pc:sldChg>
    </pc:docChg>
  </pc:docChgLst>
  <pc:docChgLst>
    <pc:chgData name="Meyer Raphael (PAR-ES)" userId="79615dfe-ed48-4e74-a40f-4f7b034c1c27" providerId="ADAL" clId="{3CA16789-4E73-4C69-8D8B-B43110273F7B}"/>
    <pc:docChg chg="custSel addSld delSld modSld sldOrd">
      <pc:chgData name="Meyer Raphael (PAR-ES)" userId="79615dfe-ed48-4e74-a40f-4f7b034c1c27" providerId="ADAL" clId="{3CA16789-4E73-4C69-8D8B-B43110273F7B}" dt="2021-04-30T07:05:21.764" v="116" actId="2696"/>
      <pc:docMkLst>
        <pc:docMk/>
      </pc:docMkLst>
      <pc:sldChg chg="modSp mod">
        <pc:chgData name="Meyer Raphael (PAR-ES)" userId="79615dfe-ed48-4e74-a40f-4f7b034c1c27" providerId="ADAL" clId="{3CA16789-4E73-4C69-8D8B-B43110273F7B}" dt="2021-04-30T07:01:03.423" v="84" actId="20577"/>
        <pc:sldMkLst>
          <pc:docMk/>
          <pc:sldMk cId="1667945532" sldId="306"/>
        </pc:sldMkLst>
        <pc:spChg chg="mod">
          <ac:chgData name="Meyer Raphael (PAR-ES)" userId="79615dfe-ed48-4e74-a40f-4f7b034c1c27" providerId="ADAL" clId="{3CA16789-4E73-4C69-8D8B-B43110273F7B}" dt="2021-04-30T07:00:13.194" v="66" actId="20577"/>
          <ac:spMkLst>
            <pc:docMk/>
            <pc:sldMk cId="1667945532" sldId="306"/>
            <ac:spMk id="8" creationId="{5857C2A1-2CB8-4D4A-AEFD-E809BF73D04F}"/>
          </ac:spMkLst>
        </pc:spChg>
        <pc:spChg chg="mod">
          <ac:chgData name="Meyer Raphael (PAR-ES)" userId="79615dfe-ed48-4e74-a40f-4f7b034c1c27" providerId="ADAL" clId="{3CA16789-4E73-4C69-8D8B-B43110273F7B}" dt="2021-04-30T07:00:42.219" v="76" actId="20577"/>
          <ac:spMkLst>
            <pc:docMk/>
            <pc:sldMk cId="1667945532" sldId="306"/>
            <ac:spMk id="27" creationId="{46A6B042-39EE-4A58-BBAA-13D52264B660}"/>
          </ac:spMkLst>
        </pc:spChg>
        <pc:spChg chg="mod">
          <ac:chgData name="Meyer Raphael (PAR-ES)" userId="79615dfe-ed48-4e74-a40f-4f7b034c1c27" providerId="ADAL" clId="{3CA16789-4E73-4C69-8D8B-B43110273F7B}" dt="2021-04-30T06:57:12.947" v="54" actId="552"/>
          <ac:spMkLst>
            <pc:docMk/>
            <pc:sldMk cId="1667945532" sldId="306"/>
            <ac:spMk id="28" creationId="{4492A3CD-6943-423D-BFEC-8129889E8B6F}"/>
          </ac:spMkLst>
        </pc:spChg>
        <pc:spChg chg="mod">
          <ac:chgData name="Meyer Raphael (PAR-ES)" userId="79615dfe-ed48-4e74-a40f-4f7b034c1c27" providerId="ADAL" clId="{3CA16789-4E73-4C69-8D8B-B43110273F7B}" dt="2021-04-30T07:01:03.423" v="84" actId="20577"/>
          <ac:spMkLst>
            <pc:docMk/>
            <pc:sldMk cId="1667945532" sldId="306"/>
            <ac:spMk id="31" creationId="{7491A47D-CAD4-478D-8F3A-296FFCB799F9}"/>
          </ac:spMkLst>
        </pc:spChg>
        <pc:spChg chg="mod">
          <ac:chgData name="Meyer Raphael (PAR-ES)" userId="79615dfe-ed48-4e74-a40f-4f7b034c1c27" providerId="ADAL" clId="{3CA16789-4E73-4C69-8D8B-B43110273F7B}" dt="2021-04-30T06:57:18.524" v="58" actId="1038"/>
          <ac:spMkLst>
            <pc:docMk/>
            <pc:sldMk cId="1667945532" sldId="306"/>
            <ac:spMk id="32" creationId="{E65DDA4F-7190-4D5B-B875-6818D18C9F6E}"/>
          </ac:spMkLst>
        </pc:spChg>
        <pc:graphicFrameChg chg="mod">
          <ac:chgData name="Meyer Raphael (PAR-ES)" userId="79615dfe-ed48-4e74-a40f-4f7b034c1c27" providerId="ADAL" clId="{3CA16789-4E73-4C69-8D8B-B43110273F7B}" dt="2021-04-30T06:53:10.971" v="22"/>
          <ac:graphicFrameMkLst>
            <pc:docMk/>
            <pc:sldMk cId="1667945532" sldId="306"/>
            <ac:graphicFrameMk id="5" creationId="{4CF6AB8B-CAB9-4C7E-8E59-E00357A4D7F0}"/>
          </ac:graphicFrameMkLst>
        </pc:graphicFrameChg>
        <pc:cxnChg chg="mod">
          <ac:chgData name="Meyer Raphael (PAR-ES)" userId="79615dfe-ed48-4e74-a40f-4f7b034c1c27" providerId="ADAL" clId="{3CA16789-4E73-4C69-8D8B-B43110273F7B}" dt="2021-04-30T06:57:45.408" v="64" actId="1038"/>
          <ac:cxnSpMkLst>
            <pc:docMk/>
            <pc:sldMk cId="1667945532" sldId="306"/>
            <ac:cxnSpMk id="29" creationId="{FD3E902F-283F-48FC-9504-FF2FF4EA4BF0}"/>
          </ac:cxnSpMkLst>
        </pc:cxnChg>
        <pc:cxnChg chg="mod">
          <ac:chgData name="Meyer Raphael (PAR-ES)" userId="79615dfe-ed48-4e74-a40f-4f7b034c1c27" providerId="ADAL" clId="{3CA16789-4E73-4C69-8D8B-B43110273F7B}" dt="2021-04-30T06:57:40.814" v="62" actId="1037"/>
          <ac:cxnSpMkLst>
            <pc:docMk/>
            <pc:sldMk cId="1667945532" sldId="306"/>
            <ac:cxnSpMk id="30" creationId="{1D702FCA-793F-404B-84D5-F14C318BFFB3}"/>
          </ac:cxnSpMkLst>
        </pc:cxnChg>
      </pc:sldChg>
      <pc:sldChg chg="del">
        <pc:chgData name="Meyer Raphael (PAR-ES)" userId="79615dfe-ed48-4e74-a40f-4f7b034c1c27" providerId="ADAL" clId="{3CA16789-4E73-4C69-8D8B-B43110273F7B}" dt="2021-04-30T07:03:50.644" v="98" actId="2696"/>
        <pc:sldMkLst>
          <pc:docMk/>
          <pc:sldMk cId="3794750395" sldId="348"/>
        </pc:sldMkLst>
      </pc:sldChg>
      <pc:sldChg chg="del">
        <pc:chgData name="Meyer Raphael (PAR-ES)" userId="79615dfe-ed48-4e74-a40f-4f7b034c1c27" providerId="ADAL" clId="{3CA16789-4E73-4C69-8D8B-B43110273F7B}" dt="2021-04-30T07:05:21.764" v="116" actId="2696"/>
        <pc:sldMkLst>
          <pc:docMk/>
          <pc:sldMk cId="1552181785" sldId="349"/>
        </pc:sldMkLst>
      </pc:sldChg>
      <pc:sldChg chg="addSp delSp modSp add mod ord">
        <pc:chgData name="Meyer Raphael (PAR-ES)" userId="79615dfe-ed48-4e74-a40f-4f7b034c1c27" providerId="ADAL" clId="{3CA16789-4E73-4C69-8D8B-B43110273F7B}" dt="2021-04-30T07:05:12.430" v="115" actId="14100"/>
        <pc:sldMkLst>
          <pc:docMk/>
          <pc:sldMk cId="3739047188" sldId="350"/>
        </pc:sldMkLst>
        <pc:spChg chg="mod">
          <ac:chgData name="Meyer Raphael (PAR-ES)" userId="79615dfe-ed48-4e74-a40f-4f7b034c1c27" providerId="ADAL" clId="{3CA16789-4E73-4C69-8D8B-B43110273F7B}" dt="2021-04-30T07:04:20.861" v="101"/>
          <ac:spMkLst>
            <pc:docMk/>
            <pc:sldMk cId="3739047188" sldId="350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4:50.162" v="113" actId="1038"/>
          <ac:spMkLst>
            <pc:docMk/>
            <pc:sldMk cId="3739047188" sldId="350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4:30.395" v="102"/>
          <ac:spMkLst>
            <pc:docMk/>
            <pc:sldMk cId="3739047188" sldId="350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1" creationId="{A289C2CD-2234-403C-AC36-580AAE5317D6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2" creationId="{0EB13722-3B63-4D88-8F3C-A1D02E358C5E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3" creationId="{5FCAB9CA-9ABE-4D50-9CCE-DCB432301411}"/>
          </ac:spMkLst>
        </pc:spChg>
        <pc:spChg chg="add mod">
          <ac:chgData name="Meyer Raphael (PAR-ES)" userId="79615dfe-ed48-4e74-a40f-4f7b034c1c27" providerId="ADAL" clId="{3CA16789-4E73-4C69-8D8B-B43110273F7B}" dt="2021-04-30T07:04:11.398" v="100"/>
          <ac:spMkLst>
            <pc:docMk/>
            <pc:sldMk cId="3739047188" sldId="350"/>
            <ac:spMk id="25" creationId="{8F289E0B-A5A0-455A-A515-82ADB366B345}"/>
          </ac:spMkLst>
        </pc:spChg>
        <pc:spChg chg="del">
          <ac:chgData name="Meyer Raphael (PAR-ES)" userId="79615dfe-ed48-4e74-a40f-4f7b034c1c27" providerId="ADAL" clId="{3CA16789-4E73-4C69-8D8B-B43110273F7B}" dt="2021-04-30T07:04:02.611" v="99" actId="478"/>
          <ac:spMkLst>
            <pc:docMk/>
            <pc:sldMk cId="3739047188" sldId="350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5:12.430" v="115" actId="14100"/>
          <ac:spMkLst>
            <pc:docMk/>
            <pc:sldMk cId="3739047188" sldId="350"/>
            <ac:spMk id="27" creationId="{46A6B042-39EE-4A58-BBAA-13D52264B660}"/>
          </ac:spMkLst>
        </pc:spChg>
      </pc:sldChg>
      <pc:sldChg chg="addSp delSp modSp add mod ord">
        <pc:chgData name="Meyer Raphael (PAR-ES)" userId="79615dfe-ed48-4e74-a40f-4f7b034c1c27" providerId="ADAL" clId="{3CA16789-4E73-4C69-8D8B-B43110273F7B}" dt="2021-04-30T07:03:36.020" v="97"/>
        <pc:sldMkLst>
          <pc:docMk/>
          <pc:sldMk cId="2393230848" sldId="351"/>
        </pc:sldMkLst>
        <pc:spChg chg="mod">
          <ac:chgData name="Meyer Raphael (PAR-ES)" userId="79615dfe-ed48-4e74-a40f-4f7b034c1c27" providerId="ADAL" clId="{3CA16789-4E73-4C69-8D8B-B43110273F7B}" dt="2021-04-30T07:02:55.353" v="93"/>
          <ac:spMkLst>
            <pc:docMk/>
            <pc:sldMk cId="2393230848" sldId="351"/>
            <ac:spMk id="2" creationId="{A2DC317F-F1F4-4624-8FC1-3B68C1DBB3DA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7" creationId="{BA3F9A72-0541-4D1F-8CD8-1C2B8074FA1B}"/>
          </ac:spMkLst>
        </pc:spChg>
        <pc:spChg chg="mod">
          <ac:chgData name="Meyer Raphael (PAR-ES)" userId="79615dfe-ed48-4e74-a40f-4f7b034c1c27" providerId="ADAL" clId="{3CA16789-4E73-4C69-8D8B-B43110273F7B}" dt="2021-04-30T07:03:20.221" v="96" actId="14100"/>
          <ac:spMkLst>
            <pc:docMk/>
            <pc:sldMk cId="2393230848" sldId="351"/>
            <ac:spMk id="8" creationId="{5857C2A1-2CB8-4D4A-AEFD-E809BF73D04F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9" creationId="{B6990B61-32B2-4ADC-BF01-EDF7B4080F97}"/>
          </ac:spMkLst>
        </pc:spChg>
        <pc:spChg chg="mod">
          <ac:chgData name="Meyer Raphael (PAR-ES)" userId="79615dfe-ed48-4e74-a40f-4f7b034c1c27" providerId="ADAL" clId="{3CA16789-4E73-4C69-8D8B-B43110273F7B}" dt="2021-04-30T07:03:06.994" v="94"/>
          <ac:spMkLst>
            <pc:docMk/>
            <pc:sldMk cId="2393230848" sldId="351"/>
            <ac:spMk id="10" creationId="{077DFD58-E5EE-4B68-9325-D935DB04DD40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17" creationId="{785E740C-F94A-4208-8DFD-63A603C16577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1" creationId="{8846911B-74B7-4F54-BE37-34D072ACCE8C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2" creationId="{F7CB452A-4958-4C8E-B85E-895E530EB7D2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3" creationId="{3BCBF218-6934-4E2E-8A39-3EAF804953BB}"/>
          </ac:spMkLst>
        </pc:spChg>
        <pc:spChg chg="add mod">
          <ac:chgData name="Meyer Raphael (PAR-ES)" userId="79615dfe-ed48-4e74-a40f-4f7b034c1c27" providerId="ADAL" clId="{3CA16789-4E73-4C69-8D8B-B43110273F7B}" dt="2021-04-30T07:02:46.271" v="92"/>
          <ac:spMkLst>
            <pc:docMk/>
            <pc:sldMk cId="2393230848" sldId="351"/>
            <ac:spMk id="25" creationId="{AB971104-6819-40A6-BE14-D19A3A65CAEC}"/>
          </ac:spMkLst>
        </pc:spChg>
        <pc:spChg chg="del">
          <ac:chgData name="Meyer Raphael (PAR-ES)" userId="79615dfe-ed48-4e74-a40f-4f7b034c1c27" providerId="ADAL" clId="{3CA16789-4E73-4C69-8D8B-B43110273F7B}" dt="2021-04-30T07:02:36.390" v="91" actId="478"/>
          <ac:spMkLst>
            <pc:docMk/>
            <pc:sldMk cId="2393230848" sldId="351"/>
            <ac:spMk id="26" creationId="{BFD498B5-D73E-4C8A-9FAF-B3547647538C}"/>
          </ac:spMkLst>
        </pc:spChg>
        <pc:spChg chg="mod">
          <ac:chgData name="Meyer Raphael (PAR-ES)" userId="79615dfe-ed48-4e74-a40f-4f7b034c1c27" providerId="ADAL" clId="{3CA16789-4E73-4C69-8D8B-B43110273F7B}" dt="2021-04-30T07:03:36.020" v="97"/>
          <ac:spMkLst>
            <pc:docMk/>
            <pc:sldMk cId="2393230848" sldId="351"/>
            <ac:spMk id="27" creationId="{46A6B042-39EE-4A58-BBAA-13D52264B660}"/>
          </ac:spMkLst>
        </pc:spChg>
      </pc:sldChg>
    </pc:docChg>
  </pc:docChgLst>
  <pc:docChgLst>
    <pc:chgData name="Meyer Raphael (PAR-ES)" userId="79615dfe-ed48-4e74-a40f-4f7b034c1c27" providerId="ADAL" clId="{61D52C4E-E5E4-42FA-AB6D-366494A96EE2}"/>
    <pc:docChg chg="undo custSel modSld">
      <pc:chgData name="Meyer Raphael (PAR-ES)" userId="79615dfe-ed48-4e74-a40f-4f7b034c1c27" providerId="ADAL" clId="{61D52C4E-E5E4-42FA-AB6D-366494A96EE2}" dt="2021-11-04T10:05:55.117" v="23" actId="207"/>
      <pc:docMkLst>
        <pc:docMk/>
      </pc:docMkLst>
      <pc:sldChg chg="addSp delSp modSp mod">
        <pc:chgData name="Meyer Raphael (PAR-ES)" userId="79615dfe-ed48-4e74-a40f-4f7b034c1c27" providerId="ADAL" clId="{61D52C4E-E5E4-42FA-AB6D-366494A96EE2}" dt="2021-11-04T10:05:55.117" v="23" actId="207"/>
        <pc:sldMkLst>
          <pc:docMk/>
          <pc:sldMk cId="3808035539" sldId="270"/>
        </pc:sldMkLst>
        <pc:spChg chg="add mod">
          <ac:chgData name="Meyer Raphael (PAR-ES)" userId="79615dfe-ed48-4e74-a40f-4f7b034c1c27" providerId="ADAL" clId="{61D52C4E-E5E4-42FA-AB6D-366494A96EE2}" dt="2021-11-04T10:05:35.260" v="22" actId="207"/>
          <ac:spMkLst>
            <pc:docMk/>
            <pc:sldMk cId="3808035539" sldId="270"/>
            <ac:spMk id="7" creationId="{CE60A944-7104-442D-B06A-85C8256131F7}"/>
          </ac:spMkLst>
        </pc:spChg>
        <pc:spChg chg="add del mod">
          <ac:chgData name="Meyer Raphael (PAR-ES)" userId="79615dfe-ed48-4e74-a40f-4f7b034c1c27" providerId="ADAL" clId="{61D52C4E-E5E4-42FA-AB6D-366494A96EE2}" dt="2021-11-04T10:04:13.696" v="21" actId="478"/>
          <ac:spMkLst>
            <pc:docMk/>
            <pc:sldMk cId="3808035539" sldId="270"/>
            <ac:spMk id="8" creationId="{BE32E368-8678-40CA-B225-215870648184}"/>
          </ac:spMkLst>
        </pc:spChg>
        <pc:spChg chg="mod">
          <ac:chgData name="Meyer Raphael (PAR-ES)" userId="79615dfe-ed48-4e74-a40f-4f7b034c1c27" providerId="ADAL" clId="{61D52C4E-E5E4-42FA-AB6D-366494A96EE2}" dt="2021-11-04T10:05:55.117" v="23" actId="207"/>
          <ac:spMkLst>
            <pc:docMk/>
            <pc:sldMk cId="3808035539" sldId="270"/>
            <ac:spMk id="10" creationId="{41B9B9AB-4B12-4760-AF37-4FABDDFAE68B}"/>
          </ac:spMkLst>
        </pc:spChg>
      </pc:sldChg>
    </pc:docChg>
  </pc:docChgLst>
</pc:chgInfo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de-DE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0.21241496303567492"/>
          <c:y val="3.711401967995117E-2"/>
          <c:w val="0.76707882778699366"/>
          <c:h val="0.88212280210778282"/>
        </c:manualLayout>
      </c:layout>
      <c:barChart>
        <c:barDir val="bar"/>
        <c:grouping val="stacked"/>
        <c:varyColors val="0"/>
        <c:ser>
          <c:idx val="0"/>
          <c:order val="0"/>
          <c:tx>
            <c:strRef>
              <c:f>data!$I$2</c:f>
              <c:strCache>
                <c:ptCount val="1"/>
                <c:pt idx="0">
                  <c:v>Wert</c:v>
                </c:pt>
              </c:strCache>
            </c:strRef>
          </c:tx>
          <c:spPr>
            <a:solidFill>
              <a:schemeClr val="accent6"/>
            </a:solidFill>
          </c:spPr>
          <c:invertIfNegative val="0"/>
          <c:dPt>
            <c:idx val="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A-4ED7-4664-9332-5D1E4B5B494A}"/>
              </c:ext>
            </c:extLst>
          </c:dPt>
          <c:dPt>
            <c:idx val="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9-4ED7-4664-9332-5D1E4B5B494A}"/>
              </c:ext>
            </c:extLst>
          </c:dPt>
          <c:dPt>
            <c:idx val="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8-4ED7-4664-9332-5D1E4B5B494A}"/>
              </c:ext>
            </c:extLst>
          </c:dPt>
          <c:dPt>
            <c:idx val="3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7-4ED7-4664-9332-5D1E4B5B494A}"/>
              </c:ext>
            </c:extLst>
          </c:dPt>
          <c:dPt>
            <c:idx val="4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6-4ED7-4664-9332-5D1E4B5B494A}"/>
              </c:ext>
            </c:extLst>
          </c:dPt>
          <c:dPt>
            <c:idx val="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5-4ED7-4664-9332-5D1E4B5B494A}"/>
              </c:ext>
            </c:extLst>
          </c:dPt>
          <c:dPt>
            <c:idx val="6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4-4ED7-4664-9332-5D1E4B5B494A}"/>
              </c:ext>
            </c:extLst>
          </c:dPt>
          <c:dPt>
            <c:idx val="7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4ED7-4664-9332-5D1E4B5B494A}"/>
              </c:ext>
            </c:extLst>
          </c:dPt>
          <c:dPt>
            <c:idx val="8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2-4ED7-4664-9332-5D1E4B5B494A}"/>
              </c:ext>
            </c:extLst>
          </c:dPt>
          <c:dPt>
            <c:idx val="9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1-4ED7-4664-9332-5D1E4B5B494A}"/>
              </c:ext>
            </c:extLst>
          </c:dPt>
          <c:dPt>
            <c:idx val="10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A157-44B7-B3A8-7754B5DE1755}"/>
              </c:ext>
            </c:extLst>
          </c:dPt>
          <c:dPt>
            <c:idx val="11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0-4ED7-4664-9332-5D1E4B5B494A}"/>
              </c:ext>
            </c:extLst>
          </c:dPt>
          <c:dPt>
            <c:idx val="12"/>
            <c:invertIfNegative val="0"/>
            <c:bubble3D val="0"/>
            <c:extLst>
              <c:ext xmlns:c16="http://schemas.microsoft.com/office/drawing/2014/chart" uri="{C3380CC4-5D6E-409C-BE32-E72D297353CC}">
                <c16:uniqueId val="{00000003-B9D1-4637-85BC-0EAF17287C5A}"/>
              </c:ext>
            </c:extLst>
          </c:dPt>
          <c:dPt>
            <c:idx val="14"/>
            <c:invertIfNegative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2-A157-44B7-B3A8-7754B5DE1755}"/>
              </c:ext>
            </c:extLst>
          </c:dPt>
          <c:dPt>
            <c:idx val="15"/>
            <c:invertIfNegative val="0"/>
            <c:bubble3D val="0"/>
            <c:extLst>
              <c:ext xmlns:c16="http://schemas.microsoft.com/office/drawing/2014/chart" uri="{C3380CC4-5D6E-409C-BE32-E72D297353CC}">
                <c16:uniqueId val="{0000001C-8B74-4E16-8ABD-94493A233CF0}"/>
              </c:ext>
            </c:extLst>
          </c:dPt>
          <c:cat>
            <c:strRef>
              <c:f>data!$H$3:$H$17</c:f>
              <c:strCache>
                <c:ptCount val="15"/>
                <c:pt idx="0">
                  <c:v>LG (LT)</c:v>
                </c:pt>
                <c:pt idx="1">
                  <c:v>SZDC (CZ)</c:v>
                </c:pt>
                <c:pt idx="2">
                  <c:v>Network Rail (GB)</c:v>
                </c:pt>
                <c:pt idx="3">
                  <c:v>FTA (FI)</c:v>
                </c:pt>
                <c:pt idx="4">
                  <c:v>SNCF Réseau (FR)</c:v>
                </c:pt>
                <c:pt idx="5">
                  <c:v>DB AG (DE)</c:v>
                </c:pt>
                <c:pt idx="6">
                  <c:v>PKP (PL)</c:v>
                </c:pt>
                <c:pt idx="7">
                  <c:v>ADIF (ES)</c:v>
                </c:pt>
                <c:pt idx="8">
                  <c:v>FS (IT)</c:v>
                </c:pt>
                <c:pt idx="9">
                  <c:v>ProRail (NL)</c:v>
                </c:pt>
                <c:pt idx="10">
                  <c:v>ÖBB (AT)</c:v>
                </c:pt>
                <c:pt idx="11">
                  <c:v>Trafikverket (SE)</c:v>
                </c:pt>
                <c:pt idx="12">
                  <c:v>Infrabel (BE)</c:v>
                </c:pt>
                <c:pt idx="13">
                  <c:v>CFL (LU)</c:v>
                </c:pt>
                <c:pt idx="14">
                  <c:v>SBB (CH)</c:v>
                </c:pt>
              </c:strCache>
            </c:strRef>
          </c:cat>
          <c:val>
            <c:numRef>
              <c:f>data!$I$3:$I$17</c:f>
              <c:numCache>
                <c:formatCode>0.0</c:formatCode>
                <c:ptCount val="15"/>
                <c:pt idx="0">
                  <c:v>8.1081081081081106</c:v>
                </c:pt>
                <c:pt idx="1">
                  <c:v>34.8486469141085</c:v>
                </c:pt>
                <c:pt idx="2">
                  <c:v>38.405027854834501</c:v>
                </c:pt>
                <c:pt idx="3">
                  <c:v>57.886728655959402</c:v>
                </c:pt>
                <c:pt idx="4">
                  <c:v>59.8352137767221</c:v>
                </c:pt>
                <c:pt idx="5">
                  <c:v>62.314726273009803</c:v>
                </c:pt>
                <c:pt idx="6">
                  <c:v>64.484738913112807</c:v>
                </c:pt>
                <c:pt idx="7">
                  <c:v>66.866892453191895</c:v>
                </c:pt>
                <c:pt idx="8">
                  <c:v>70.997994880299601</c:v>
                </c:pt>
                <c:pt idx="9">
                  <c:v>74.547846103255495</c:v>
                </c:pt>
                <c:pt idx="10">
                  <c:v>76.9040247678019</c:v>
                </c:pt>
                <c:pt idx="11">
                  <c:v>83.250927070457394</c:v>
                </c:pt>
                <c:pt idx="12">
                  <c:v>88.833746898263001</c:v>
                </c:pt>
                <c:pt idx="13">
                  <c:v>96.678966789667896</c:v>
                </c:pt>
                <c:pt idx="14">
                  <c:v>99.97800949992419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157-44B7-B3A8-7754B5DE175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25"/>
        <c:overlap val="100"/>
        <c:axId val="133638400"/>
        <c:axId val="133636864"/>
      </c:barChart>
      <c:valAx>
        <c:axId val="133636864"/>
        <c:scaling>
          <c:orientation val="minMax"/>
          <c:max val="100"/>
        </c:scaling>
        <c:delete val="0"/>
        <c:axPos val="b"/>
        <c:majorGridlines>
          <c:spPr>
            <a:ln>
              <a:solidFill>
                <a:schemeClr val="accent5"/>
              </a:solidFill>
            </a:ln>
          </c:spPr>
        </c:majorGridlines>
        <c:numFmt formatCode="0%" sourceLinked="0"/>
        <c:majorTickMark val="out"/>
        <c:minorTickMark val="none"/>
        <c:tickLblPos val="nextTo"/>
        <c:spPr>
          <a:ln>
            <a:noFill/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8400"/>
        <c:crosses val="autoZero"/>
        <c:crossBetween val="between"/>
        <c:majorUnit val="25"/>
        <c:dispUnits>
          <c:builtInUnit val="hundreds"/>
        </c:dispUnits>
      </c:valAx>
      <c:catAx>
        <c:axId val="13363840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low"/>
        <c:spPr>
          <a:ln w="9525">
            <a:solidFill>
              <a:srgbClr val="444444"/>
            </a:solidFill>
          </a:ln>
        </c:spPr>
        <c:txPr>
          <a:bodyPr/>
          <a:lstStyle/>
          <a:p>
            <a:pPr>
              <a:defRPr sz="1100"/>
            </a:pPr>
            <a:endParaRPr lang="de-DE"/>
          </a:p>
        </c:txPr>
        <c:crossAx val="133636864"/>
        <c:crosses val="autoZero"/>
        <c:auto val="0"/>
        <c:lblAlgn val="ctr"/>
        <c:lblOffset val="100"/>
        <c:noMultiLvlLbl val="0"/>
      </c:catAx>
    </c:plotArea>
    <c:plotVisOnly val="1"/>
    <c:dispBlanksAs val="gap"/>
    <c:showDLblsOverMax val="0"/>
  </c:chart>
  <c:txPr>
    <a:bodyPr/>
    <a:lstStyle/>
    <a:p>
      <a:pPr>
        <a:defRPr sz="1000">
          <a:solidFill>
            <a:srgbClr val="444444"/>
          </a:solidFill>
        </a:defRPr>
      </a:pPr>
      <a:endParaRPr lang="de-DE"/>
    </a:p>
  </c:txPr>
  <c:externalData r:id="rId1">
    <c:autoUpdate val="0"/>
  </c:externalData>
</c:chartSpace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55975E2-D668-4E51-9A3C-34EDD7C4EB22}" type="datetimeFigureOut">
              <a:rPr lang="de-CH" smtClean="0"/>
              <a:t>24.02.2025</a:t>
            </a:fld>
            <a:endParaRPr lang="de-CH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de-CH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DDECC79-EE51-48EB-A65E-A2A214B69F64}" type="slidenum">
              <a:rPr lang="de-CH" smtClean="0"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1543645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lienbildplatzhalt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de-CH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BB • Division • Abteilung oder Bereich • DD.MM.YY</a:t>
            </a:r>
            <a:endParaRPr lang="en-US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ED26404-58E8-4486-905C-9BBBD7B83F82}" type="slidenum">
              <a:rPr lang="en-US" smtClean="0"/>
              <a:pPr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42622216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1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2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3.xml"/><Relationship Id="rId4" Type="http://schemas.openxmlformats.org/officeDocument/2006/relationships/image" Target="../media/image15.emf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7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6.png"/><Relationship Id="rId5" Type="http://schemas.openxmlformats.org/officeDocument/2006/relationships/image" Target="../media/image5.png"/><Relationship Id="rId4" Type="http://schemas.openxmlformats.org/officeDocument/2006/relationships/image" Target="../media/image4.pn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2.xml"/></Relationships>
</file>

<file path=ppt/slideLayouts/_rels/slideLayout4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2.xml"/></Relationships>
</file>

<file path=ppt/slideLayouts/_rels/slideLayout4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2.xml"/></Relationships>
</file>

<file path=ppt/slideLayouts/_rels/slideLayout5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7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5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9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3.xml"/></Relationships>
</file>

<file path=ppt/slideLayouts/_rels/slideLayout8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3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8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3.xml"/></Relationships>
</file>

<file path=ppt/slideLayouts/_rels/slideLayout8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2.xml"/><Relationship Id="rId4" Type="http://schemas.openxmlformats.org/officeDocument/2006/relationships/image" Target="../media/image15.emf"/></Relationships>
</file>

<file path=ppt/slideLayouts/_rels/slideLayout8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emf"/><Relationship Id="rId1" Type="http://schemas.openxmlformats.org/officeDocument/2006/relationships/slideMaster" Target="../slideMasters/slideMaster4.xml"/></Relationships>
</file>

<file path=ppt/slideLayouts/_rels/slideLayout8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2.emf"/><Relationship Id="rId1" Type="http://schemas.openxmlformats.org/officeDocument/2006/relationships/slideMaster" Target="../slideMasters/slideMaster4.xml"/></Relationships>
</file>

<file path=ppt/slideLayouts/_rels/slideLayout8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png"/><Relationship Id="rId1" Type="http://schemas.openxmlformats.org/officeDocument/2006/relationships/slideMaster" Target="../slideMasters/slideMaster1.xml"/></Relationships>
</file>

<file path=ppt/slideLayouts/_rels/slideLayout9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emf"/><Relationship Id="rId1" Type="http://schemas.openxmlformats.org/officeDocument/2006/relationships/slideMaster" Target="../slideMasters/slideMaster4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3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5.xml.rels><?xml version="1.0" encoding="UTF-8" standalone="yes"?>
<Relationships xmlns="http://schemas.openxmlformats.org/package/2006/relationships"><Relationship Id="rId2" Type="http://schemas.openxmlformats.org/officeDocument/2006/relationships/image" Target="../media/image9.emf"/><Relationship Id="rId1" Type="http://schemas.openxmlformats.org/officeDocument/2006/relationships/slideMaster" Target="../slideMasters/slideMaster4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724800" y="4773149"/>
            <a:ext cx="11032720" cy="614400"/>
          </a:xfrm>
        </p:spPr>
        <p:txBody>
          <a:bodyPr wrap="square"/>
          <a:lstStyle>
            <a:lvl1pPr>
              <a:defRPr sz="4000"/>
            </a:lvl1pPr>
          </a:lstStyle>
          <a:p>
            <a:r>
              <a:rPr lang="de-DE"/>
              <a:t>Dies ist der Titel der Präsentation.</a:t>
            </a:r>
            <a:endParaRPr lang="de-CH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2" hasCustomPrompt="1"/>
          </p:nvPr>
        </p:nvSpPr>
        <p:spPr>
          <a:xfrm>
            <a:off x="724799" y="5521949"/>
            <a:ext cx="11033404" cy="326400"/>
          </a:xfrm>
        </p:spPr>
        <p:txBody>
          <a:bodyPr/>
          <a:lstStyle>
            <a:lvl1pPr marL="0" indent="0">
              <a:buNone/>
              <a:defRPr sz="2133" baseline="0"/>
            </a:lvl1pPr>
          </a:lstStyle>
          <a:p>
            <a:pPr lvl="0"/>
            <a:r>
              <a:rPr lang="de-DE"/>
              <a:t>Name Vortragender, Ort, Datum</a:t>
            </a:r>
          </a:p>
        </p:txBody>
      </p:sp>
      <p:pic>
        <p:nvPicPr>
          <p:cNvPr id="4" name="Logo_SBB_Cargo_D" hidden="1">
            <a:extLst>
              <a:ext uri="{FF2B5EF4-FFF2-40B4-BE49-F238E27FC236}">
                <a16:creationId xmlns:a16="http://schemas.microsoft.com/office/drawing/2014/main" id="{EE6A846E-FFDC-4636-B971-92215806F72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5" name="Logo_SBB_Cargo_H" hidden="1">
            <a:extLst>
              <a:ext uri="{FF2B5EF4-FFF2-40B4-BE49-F238E27FC236}">
                <a16:creationId xmlns:a16="http://schemas.microsoft.com/office/drawing/2014/main" id="{412E2250-6FCC-421A-895D-4FBDAB736881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Int_D" hidden="1">
            <a:extLst>
              <a:ext uri="{FF2B5EF4-FFF2-40B4-BE49-F238E27FC236}">
                <a16:creationId xmlns:a16="http://schemas.microsoft.com/office/drawing/2014/main" id="{EFF1882B-601E-421B-8CD9-BC3630895331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8" name="Logo_SBB_CargoInt_H" hidden="1">
            <a:extLst>
              <a:ext uri="{FF2B5EF4-FFF2-40B4-BE49-F238E27FC236}">
                <a16:creationId xmlns:a16="http://schemas.microsoft.com/office/drawing/2014/main" id="{13966A66-44EB-4089-BB9B-5E88F0600737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9" name="Logo_SBB_Standard_D" hidden="1">
            <a:extLst>
              <a:ext uri="{FF2B5EF4-FFF2-40B4-BE49-F238E27FC236}">
                <a16:creationId xmlns:a16="http://schemas.microsoft.com/office/drawing/2014/main" id="{A2C0EE81-74D3-4894-8536-82B010157FA0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0" name="Logo_SBB_Standard_H">
            <a:extLst>
              <a:ext uri="{FF2B5EF4-FFF2-40B4-BE49-F238E27FC236}">
                <a16:creationId xmlns:a16="http://schemas.microsoft.com/office/drawing/2014/main" id="{2470208F-A15C-4C0F-9FD1-3CC76EF6D56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910765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Logo_SBB_Symbol">
            <a:extLst>
              <a:ext uri="{FF2B5EF4-FFF2-40B4-BE49-F238E27FC236}">
                <a16:creationId xmlns:a16="http://schemas.microsoft.com/office/drawing/2014/main" id="{C55278FF-3F13-4F04-BFA6-4D49C8DADB7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20069763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5117952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995173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3923342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6994876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5401085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90120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35813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777366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676750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9254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ap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1"/>
          <p:cNvSpPr/>
          <p:nvPr userDrawn="1"/>
        </p:nvSpPr>
        <p:spPr bwMode="ltGray">
          <a:xfrm>
            <a:off x="-7668" y="782129"/>
            <a:ext cx="10259683" cy="831724"/>
          </a:xfrm>
          <a:custGeom>
            <a:avLst/>
            <a:gdLst>
              <a:gd name="connsiteX0" fmla="*/ 7694762 w 7694762"/>
              <a:gd name="connsiteY0" fmla="*/ 1368725 h 4560498"/>
              <a:gd name="connsiteX1" fmla="*/ 7694762 w 7694762"/>
              <a:gd name="connsiteY1" fmla="*/ 4560498 h 4560498"/>
              <a:gd name="connsiteX2" fmla="*/ 0 w 7694762"/>
              <a:gd name="connsiteY2" fmla="*/ 4560498 h 4560498"/>
              <a:gd name="connsiteX3" fmla="*/ 0 w 7694762"/>
              <a:gd name="connsiteY3" fmla="*/ 0 h 4560498"/>
              <a:gd name="connsiteX4" fmla="*/ 7694762 w 7694762"/>
              <a:gd name="connsiteY4" fmla="*/ 1368725 h 456049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7694762" h="4560498">
                <a:moveTo>
                  <a:pt x="7694762" y="1368725"/>
                </a:moveTo>
                <a:lnTo>
                  <a:pt x="7694762" y="4560498"/>
                </a:lnTo>
                <a:lnTo>
                  <a:pt x="0" y="4560498"/>
                </a:lnTo>
                <a:lnTo>
                  <a:pt x="0" y="0"/>
                </a:lnTo>
                <a:lnTo>
                  <a:pt x="7694762" y="1368725"/>
                </a:lnTo>
                <a:close/>
              </a:path>
            </a:pathLst>
          </a:custGeom>
          <a:solidFill>
            <a:srgbClr val="EB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>
          <a:xfrm>
            <a:off x="720000" y="2616000"/>
            <a:ext cx="9217520" cy="3984000"/>
          </a:xfrm>
          <a:prstGeom prst="rect">
            <a:avLst/>
          </a:prstGeom>
        </p:spPr>
        <p:txBody>
          <a:bodyPr wrap="square" bIns="0" anchor="t" anchorCtr="0">
            <a:noAutofit/>
          </a:bodyPr>
          <a:lstStyle>
            <a:lvl1pPr algn="l">
              <a:lnSpc>
                <a:spcPct val="100000"/>
              </a:lnSpc>
              <a:defRPr sz="4267" b="0" cap="none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er Kapiteltext hat maximal 3 Zeilen.</a:t>
            </a:r>
          </a:p>
        </p:txBody>
      </p:sp>
      <p:pic>
        <p:nvPicPr>
          <p:cNvPr id="4" name="Logo_SBB_Symbol">
            <a:extLst>
              <a:ext uri="{FF2B5EF4-FFF2-40B4-BE49-F238E27FC236}">
                <a16:creationId xmlns:a16="http://schemas.microsoft.com/office/drawing/2014/main" id="{69BA78CF-CC2D-4B72-81CD-B590B9E07C7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423415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054714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416283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25107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0452758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448225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924758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25684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2681590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47286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82460423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1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reeform 2"/>
          <p:cNvSpPr/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7" name="Freeform 1"/>
          <p:cNvSpPr>
            <a:spLocks/>
          </p:cNvSpPr>
          <p:nvPr userDrawn="1"/>
        </p:nvSpPr>
        <p:spPr>
          <a:xfrm>
            <a:off x="-19200" y="793746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4" y="1609837"/>
            <a:ext cx="3937428" cy="3163312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4620A341-5696-4DBC-9BA9-4AE19CE2487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2882838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825848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9284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 dirty="0"/>
              <a:t>Die Objektfolie. </a:t>
            </a:r>
            <a:br>
              <a:rPr lang="de-CH" dirty="0"/>
            </a:br>
            <a:r>
              <a:rPr lang="de-CH" dirty="0"/>
              <a:t>Titel bitte maximal zweizeilig.</a:t>
            </a:r>
            <a:endParaRPr lang="de-CH" noProof="0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CH" noProof="0"/>
              <a:t>stat@sbb.ch 20.03.18</a:t>
            </a:r>
            <a:endParaRPr lang="de-CH" noProof="0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E115662-413A-4888-B9BC-797CDE14544F}" type="slidenum">
              <a:rPr lang="de-CH" noProof="0" smtClean="0"/>
              <a:t>‹Nr.›</a:t>
            </a:fld>
            <a:endParaRPr lang="de-CH" noProof="0"/>
          </a:p>
        </p:txBody>
      </p:sp>
      <p:sp>
        <p:nvSpPr>
          <p:cNvPr id="8" name="Text Placeholder 7"/>
          <p:cNvSpPr>
            <a:spLocks noGrp="1"/>
          </p:cNvSpPr>
          <p:nvPr>
            <p:ph type="body" sz="quarter" idx="13"/>
          </p:nvPr>
        </p:nvSpPr>
        <p:spPr>
          <a:xfrm>
            <a:off x="1007533" y="1656000"/>
            <a:ext cx="10752667" cy="720799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  <a:lvl2pPr marL="288000" indent="0">
              <a:buNone/>
              <a:defRPr/>
            </a:lvl2pPr>
          </a:lstStyle>
          <a:p>
            <a:pPr lvl="0"/>
            <a:r>
              <a:rPr lang="de-DE" noProof="0"/>
              <a:t>Textmasterformat bearbeiten</a:t>
            </a:r>
          </a:p>
        </p:txBody>
      </p:sp>
      <p:sp>
        <p:nvSpPr>
          <p:cNvPr id="10" name="Content Placeholder 9"/>
          <p:cNvSpPr>
            <a:spLocks noGrp="1"/>
          </p:cNvSpPr>
          <p:nvPr>
            <p:ph sz="quarter" idx="14"/>
          </p:nvPr>
        </p:nvSpPr>
        <p:spPr>
          <a:xfrm>
            <a:off x="1007533" y="2451600"/>
            <a:ext cx="10752667" cy="3528016"/>
          </a:xfrm>
        </p:spPr>
        <p:txBody>
          <a:bodyPr>
            <a:noAutofit/>
          </a:bodyPr>
          <a:lstStyle/>
          <a:p>
            <a:pPr lvl="0"/>
            <a:r>
              <a:rPr lang="de-DE" noProof="0"/>
              <a:t>Textmaster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82312837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re et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1007533" y="692150"/>
            <a:ext cx="10752667" cy="738664"/>
          </a:xfrm>
          <a:prstGeom prst="rect">
            <a:avLst/>
          </a:prstGeom>
        </p:spPr>
        <p:txBody>
          <a:bodyPr wrap="square"/>
          <a:lstStyle>
            <a:lvl1pPr>
              <a:defRPr baseline="0"/>
            </a:lvl1pPr>
          </a:lstStyle>
          <a:p>
            <a:r>
              <a:rPr lang="fr-CH" noProof="0" dirty="0"/>
              <a:t>Diapositive texte.</a:t>
            </a:r>
            <a:br>
              <a:rPr lang="fr-CH" noProof="0" dirty="0"/>
            </a:br>
            <a:r>
              <a:rPr lang="fr-CH" noProof="0" dirty="0"/>
              <a:t>Titre sur deux lignes au maximum.</a:t>
            </a:r>
          </a:p>
        </p:txBody>
      </p:sp>
      <p:sp>
        <p:nvSpPr>
          <p:cNvPr id="6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096000" y="6618258"/>
            <a:ext cx="5280587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fr-CH" noProof="0" dirty="0"/>
              <a:t>CFF • Division • Unité ou service • JJ.MM.AAAA</a:t>
            </a:r>
          </a:p>
        </p:txBody>
      </p:sp>
      <p:sp>
        <p:nvSpPr>
          <p:cNvPr id="8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362365" y="6618258"/>
            <a:ext cx="397835" cy="123111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r">
              <a:defRPr sz="6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fr-CH" noProof="0" smtClean="0"/>
              <a:pPr/>
              <a:t>‹Nr.›</a:t>
            </a:fld>
            <a:endParaRPr lang="fr-CH" noProof="0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0" hasCustomPrompt="1"/>
          </p:nvPr>
        </p:nvSpPr>
        <p:spPr>
          <a:xfrm>
            <a:off x="1007533" y="1656000"/>
            <a:ext cx="10752667" cy="4867200"/>
          </a:xfrm>
        </p:spPr>
        <p:txBody>
          <a:bodyPr/>
          <a:lstStyle>
            <a:lvl1pPr>
              <a:defRPr/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lvl="0"/>
            <a:r>
              <a:rPr lang="fr-CH" noProof="0" dirty="0"/>
              <a:t>Cliquer ici pour insérer un texte</a:t>
            </a:r>
          </a:p>
          <a:p>
            <a:pPr lvl="1"/>
            <a:r>
              <a:rPr lang="fr-CH" noProof="0" dirty="0"/>
              <a:t>2ème niveau</a:t>
            </a:r>
          </a:p>
          <a:p>
            <a:pPr lvl="2"/>
            <a:r>
              <a:rPr lang="fr-CH" noProof="0" dirty="0"/>
              <a:t>3ème niveau</a:t>
            </a:r>
          </a:p>
          <a:p>
            <a:pPr lvl="3"/>
            <a:r>
              <a:rPr lang="fr-CH" noProof="0" dirty="0"/>
              <a:t>4ème niveau</a:t>
            </a:r>
          </a:p>
          <a:p>
            <a:pPr lvl="4"/>
            <a:r>
              <a:rPr lang="fr-CH" noProof="0" dirty="0"/>
              <a:t>5ème niveau</a:t>
            </a:r>
          </a:p>
        </p:txBody>
      </p:sp>
    </p:spTree>
    <p:extLst>
      <p:ext uri="{BB962C8B-B14F-4D97-AF65-F5344CB8AC3E}">
        <p14:creationId xmlns:p14="http://schemas.microsoft.com/office/powerpoint/2010/main" val="3135137210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366999299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444271961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2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reeform 2"/>
          <p:cNvSpPr/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E20000">
              <a:alpha val="65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11" name="Freeform 1"/>
          <p:cNvSpPr>
            <a:spLocks/>
          </p:cNvSpPr>
          <p:nvPr userDrawn="1"/>
        </p:nvSpPr>
        <p:spPr bwMode="ltGray">
          <a:xfrm>
            <a:off x="-7668" y="797465"/>
            <a:ext cx="4700437" cy="831724"/>
          </a:xfrm>
          <a:custGeom>
            <a:avLst/>
            <a:gdLst>
              <a:gd name="connsiteX0" fmla="*/ 3525328 w 3525328"/>
              <a:gd name="connsiteY0" fmla="*/ 626853 h 4543245"/>
              <a:gd name="connsiteX1" fmla="*/ 3525328 w 3525328"/>
              <a:gd name="connsiteY1" fmla="*/ 4203940 h 4543245"/>
              <a:gd name="connsiteX2" fmla="*/ 1639019 w 3525328"/>
              <a:gd name="connsiteY2" fmla="*/ 4543245 h 4543245"/>
              <a:gd name="connsiteX3" fmla="*/ 0 w 3525328"/>
              <a:gd name="connsiteY3" fmla="*/ 4543245 h 4543245"/>
              <a:gd name="connsiteX4" fmla="*/ 0 w 3525328"/>
              <a:gd name="connsiteY4" fmla="*/ 0 h 4543245"/>
              <a:gd name="connsiteX5" fmla="*/ 3525328 w 3525328"/>
              <a:gd name="connsiteY5" fmla="*/ 626853 h 454324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3525328" h="4543245">
                <a:moveTo>
                  <a:pt x="3525328" y="626853"/>
                </a:moveTo>
                <a:lnTo>
                  <a:pt x="3525328" y="4203940"/>
                </a:lnTo>
                <a:lnTo>
                  <a:pt x="1639019" y="4543245"/>
                </a:lnTo>
                <a:lnTo>
                  <a:pt x="0" y="4543245"/>
                </a:lnTo>
                <a:lnTo>
                  <a:pt x="0" y="0"/>
                </a:lnTo>
                <a:lnTo>
                  <a:pt x="3525328" y="626853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371" y="1645323"/>
            <a:ext cx="3937429" cy="4514056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Mehrere Zeilen sind möglich.</a:t>
            </a:r>
          </a:p>
        </p:txBody>
      </p:sp>
      <p:pic>
        <p:nvPicPr>
          <p:cNvPr id="5" name="Logo_SBB_Symbol">
            <a:extLst>
              <a:ext uri="{FF2B5EF4-FFF2-40B4-BE49-F238E27FC236}">
                <a16:creationId xmlns:a16="http://schemas.microsoft.com/office/drawing/2014/main" id="{0DAC85A2-2540-4A41-AD82-500D72C817A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7274371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Inhaltsfolie 3 mit Bild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7667" y="4432061"/>
            <a:ext cx="8120332" cy="831724"/>
          </a:xfrm>
          <a:custGeom>
            <a:avLst/>
            <a:gdLst>
              <a:gd name="connsiteX0" fmla="*/ 6090249 w 6090249"/>
              <a:gd name="connsiteY0" fmla="*/ 632604 h 1823049"/>
              <a:gd name="connsiteX1" fmla="*/ 6090249 w 6090249"/>
              <a:gd name="connsiteY1" fmla="*/ 1823049 h 1823049"/>
              <a:gd name="connsiteX2" fmla="*/ 0 w 6090249"/>
              <a:gd name="connsiteY2" fmla="*/ 1823049 h 1823049"/>
              <a:gd name="connsiteX3" fmla="*/ 0 w 6090249"/>
              <a:gd name="connsiteY3" fmla="*/ 0 h 1823049"/>
              <a:gd name="connsiteX4" fmla="*/ 6090249 w 6090249"/>
              <a:gd name="connsiteY4" fmla="*/ 632604 h 182304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0249" h="1823049">
                <a:moveTo>
                  <a:pt x="6090249" y="632604"/>
                </a:moveTo>
                <a:lnTo>
                  <a:pt x="6090249" y="1823049"/>
                </a:lnTo>
                <a:lnTo>
                  <a:pt x="0" y="1823049"/>
                </a:lnTo>
                <a:lnTo>
                  <a:pt x="0" y="0"/>
                </a:lnTo>
                <a:lnTo>
                  <a:pt x="6090249" y="632604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545310"/>
            <a:ext cx="7296381" cy="1052341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200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Fügen Sie hier Ihren Text ein. </a:t>
            </a:r>
            <a:br>
              <a:rPr lang="de-CH" noProof="0"/>
            </a:br>
            <a:r>
              <a:rPr lang="de-CH" noProof="0"/>
              <a:t>Zwei Zeilen sind möglich.</a:t>
            </a:r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0400E809-12DA-4150-AF82-E56B110247A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947523830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Freeform 2"/>
          <p:cNvSpPr/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8" name="Freeform 1"/>
          <p:cNvSpPr>
            <a:spLocks/>
          </p:cNvSpPr>
          <p:nvPr userDrawn="1"/>
        </p:nvSpPr>
        <p:spPr bwMode="ltGray">
          <a:xfrm>
            <a:off x="-5080" y="4429761"/>
            <a:ext cx="8122920" cy="831724"/>
          </a:xfrm>
          <a:custGeom>
            <a:avLst/>
            <a:gdLst>
              <a:gd name="connsiteX0" fmla="*/ 6092190 w 6092190"/>
              <a:gd name="connsiteY0" fmla="*/ 640080 h 1824990"/>
              <a:gd name="connsiteX1" fmla="*/ 6092190 w 6092190"/>
              <a:gd name="connsiteY1" fmla="*/ 1824990 h 1824990"/>
              <a:gd name="connsiteX2" fmla="*/ 0 w 6092190"/>
              <a:gd name="connsiteY2" fmla="*/ 1824990 h 1824990"/>
              <a:gd name="connsiteX3" fmla="*/ 0 w 6092190"/>
              <a:gd name="connsiteY3" fmla="*/ 0 h 1824990"/>
              <a:gd name="connsiteX4" fmla="*/ 6092190 w 6092190"/>
              <a:gd name="connsiteY4" fmla="*/ 640080 h 182499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6092190" h="1824990">
                <a:moveTo>
                  <a:pt x="6092190" y="640080"/>
                </a:moveTo>
                <a:lnTo>
                  <a:pt x="6092190" y="1824990"/>
                </a:lnTo>
                <a:lnTo>
                  <a:pt x="0" y="1824990"/>
                </a:lnTo>
                <a:lnTo>
                  <a:pt x="0" y="0"/>
                </a:lnTo>
                <a:lnTo>
                  <a:pt x="6092190" y="640080"/>
                </a:ln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288000" bIns="192000" rtlCol="0" anchor="t" anchorCtr="0">
            <a:spAutoFit/>
          </a:bodyPr>
          <a:lstStyle/>
          <a:p>
            <a:pPr algn="ctr"/>
            <a:endParaRPr lang="de-CH" sz="3200" b="1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431800" y="5641022"/>
            <a:ext cx="7296381" cy="95662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lnSpc>
                <a:spcPct val="100000"/>
              </a:lnSpc>
              <a:defRPr sz="3733" b="1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anke für Ihre Aufmerksamkeit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D4065558-8A0D-47BF-AD5E-F38F9339133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7" name="Logo_SBB_Cargo_H" hidden="1">
            <a:extLst>
              <a:ext uri="{FF2B5EF4-FFF2-40B4-BE49-F238E27FC236}">
                <a16:creationId xmlns:a16="http://schemas.microsoft.com/office/drawing/2014/main" id="{A838A69E-C97D-4929-9329-46E4FEFFCC0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9" name="Logo_SBB_CargoInt_D" hidden="1">
            <a:extLst>
              <a:ext uri="{FF2B5EF4-FFF2-40B4-BE49-F238E27FC236}">
                <a16:creationId xmlns:a16="http://schemas.microsoft.com/office/drawing/2014/main" id="{B0B99F17-3089-4684-AF63-D1C50A56781A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0" name="Logo_SBB_CargoInt_H" hidden="1">
            <a:extLst>
              <a:ext uri="{FF2B5EF4-FFF2-40B4-BE49-F238E27FC236}">
                <a16:creationId xmlns:a16="http://schemas.microsoft.com/office/drawing/2014/main" id="{85D83D19-9785-4C17-BB76-59F25553711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1" name="Logo_SBB_Standard_D" hidden="1">
            <a:extLst>
              <a:ext uri="{FF2B5EF4-FFF2-40B4-BE49-F238E27FC236}">
                <a16:creationId xmlns:a16="http://schemas.microsoft.com/office/drawing/2014/main" id="{860C43D7-48AF-4534-8923-B9081EB74F3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2" name="Logo_SBB_Standard_H">
            <a:extLst>
              <a:ext uri="{FF2B5EF4-FFF2-40B4-BE49-F238E27FC236}">
                <a16:creationId xmlns:a16="http://schemas.microsoft.com/office/drawing/2014/main" id="{03945263-FDE4-4196-982D-DC754FE51E4C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90260467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1735568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203423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4012492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67178581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folie mit Bild Logo schwarz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reeform 2"/>
          <p:cNvSpPr>
            <a:spLocks/>
          </p:cNvSpPr>
          <p:nvPr userDrawn="1"/>
        </p:nvSpPr>
        <p:spPr>
          <a:xfrm>
            <a:off x="-19200" y="768897"/>
            <a:ext cx="4675040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E20000">
              <a:alpha val="65098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9" name="Freeform 1"/>
          <p:cNvSpPr/>
          <p:nvPr userDrawn="1"/>
        </p:nvSpPr>
        <p:spPr>
          <a:xfrm>
            <a:off x="-19200" y="768895"/>
            <a:ext cx="4675039" cy="831724"/>
          </a:xfrm>
          <a:custGeom>
            <a:avLst/>
            <a:gdLst>
              <a:gd name="connsiteX0" fmla="*/ 6350 w 3981450"/>
              <a:gd name="connsiteY0" fmla="*/ 0 h 4146550"/>
              <a:gd name="connsiteX1" fmla="*/ 3981450 w 3981450"/>
              <a:gd name="connsiteY1" fmla="*/ 704850 h 4146550"/>
              <a:gd name="connsiteX2" fmla="*/ 3981450 w 3981450"/>
              <a:gd name="connsiteY2" fmla="*/ 3454400 h 4146550"/>
              <a:gd name="connsiteX3" fmla="*/ 0 w 3981450"/>
              <a:gd name="connsiteY3" fmla="*/ 4146550 h 4146550"/>
              <a:gd name="connsiteX4" fmla="*/ 6350 w 3981450"/>
              <a:gd name="connsiteY4" fmla="*/ 0 h 414655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3981450" h="4146550">
                <a:moveTo>
                  <a:pt x="6350" y="0"/>
                </a:moveTo>
                <a:lnTo>
                  <a:pt x="3981450" y="704850"/>
                </a:lnTo>
                <a:lnTo>
                  <a:pt x="3981450" y="3454400"/>
                </a:lnTo>
                <a:lnTo>
                  <a:pt x="0" y="4146550"/>
                </a:lnTo>
                <a:cubicBezTo>
                  <a:pt x="4233" y="2764367"/>
                  <a:pt x="12700" y="0"/>
                  <a:pt x="6350" y="0"/>
                </a:cubicBezTo>
                <a:close/>
              </a:path>
            </a:pathLst>
          </a:custGeom>
          <a:solidFill>
            <a:srgbClr val="D70000">
              <a:alpha val="64706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288000" tIns="144000" rIns="576000" bIns="192000" rtlCol="0" anchor="t" anchorCtr="0">
            <a:spAutoFit/>
          </a:bodyPr>
          <a:lstStyle/>
          <a:p>
            <a:pPr algn="ctr"/>
            <a:endParaRPr lang="de-DE" sz="3200" b="1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431372" y="4108200"/>
            <a:ext cx="3936000" cy="648000"/>
          </a:xfrm>
          <a:prstGeom prst="rect">
            <a:avLst/>
          </a:prstGeom>
        </p:spPr>
        <p:txBody>
          <a:bodyPr vert="horz" tIns="0">
            <a:noAutofit/>
          </a:bodyPr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1867" baseline="0">
                <a:solidFill>
                  <a:srgbClr val="FFFFFF"/>
                </a:solidFill>
              </a:defRPr>
            </a:lvl1pPr>
            <a:lvl2pPr marL="54420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108840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63260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217681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72101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3265214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809417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435361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de-CH" noProof="0"/>
              <a:t>Name Vortragender, Ort, Datum</a:t>
            </a:r>
          </a:p>
        </p:txBody>
      </p:sp>
      <p:sp>
        <p:nvSpPr>
          <p:cNvPr id="7" name="Title 1"/>
          <p:cNvSpPr>
            <a:spLocks noGrp="1"/>
          </p:cNvSpPr>
          <p:nvPr>
            <p:ph type="ctrTitle" hasCustomPrompt="1"/>
          </p:nvPr>
        </p:nvSpPr>
        <p:spPr>
          <a:xfrm>
            <a:off x="431372" y="1583400"/>
            <a:ext cx="3936000" cy="2131200"/>
          </a:xfrm>
          <a:prstGeom prst="rect">
            <a:avLst/>
          </a:prstGeom>
        </p:spPr>
        <p:txBody>
          <a:bodyPr vert="horz" wrap="square" bIns="0">
            <a:noAutofit/>
          </a:bodyPr>
          <a:lstStyle>
            <a:lvl1pPr>
              <a:lnSpc>
                <a:spcPct val="100000"/>
              </a:lnSpc>
              <a:defRPr sz="3200" baseline="0">
                <a:solidFill>
                  <a:srgbClr val="FFFFFF"/>
                </a:solidFill>
              </a:defRPr>
            </a:lvl1pPr>
          </a:lstStyle>
          <a:p>
            <a:r>
              <a:rPr lang="de-CH" noProof="0"/>
              <a:t>Dies ist der Titel der Präsentation.</a:t>
            </a:r>
          </a:p>
        </p:txBody>
      </p:sp>
      <p:pic>
        <p:nvPicPr>
          <p:cNvPr id="6" name="Logo_SBB_Cargo_D" hidden="1">
            <a:extLst>
              <a:ext uri="{FF2B5EF4-FFF2-40B4-BE49-F238E27FC236}">
                <a16:creationId xmlns:a16="http://schemas.microsoft.com/office/drawing/2014/main" id="{CC98CB06-C3A4-4B7F-BEBD-55BC66C1243B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0" name="Logo_SBB_Cargo_H" hidden="1">
            <a:extLst>
              <a:ext uri="{FF2B5EF4-FFF2-40B4-BE49-F238E27FC236}">
                <a16:creationId xmlns:a16="http://schemas.microsoft.com/office/drawing/2014/main" id="{4135C476-AE98-4106-8AE0-13D2AE743AC0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88001" y="432000"/>
            <a:ext cx="3592951" cy="312083"/>
          </a:xfrm>
          <a:prstGeom prst="rect">
            <a:avLst/>
          </a:prstGeom>
        </p:spPr>
      </p:pic>
      <p:pic>
        <p:nvPicPr>
          <p:cNvPr id="11" name="Logo_SBB_CargoInt_D" hidden="1">
            <a:extLst>
              <a:ext uri="{FF2B5EF4-FFF2-40B4-BE49-F238E27FC236}">
                <a16:creationId xmlns:a16="http://schemas.microsoft.com/office/drawing/2014/main" id="{FD12A7B3-71B9-494B-91E8-8FFF57D1E043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17"/>
            <a:ext cx="4217116" cy="312083"/>
          </a:xfrm>
          <a:prstGeom prst="rect">
            <a:avLst/>
          </a:prstGeom>
        </p:spPr>
      </p:pic>
      <p:pic>
        <p:nvPicPr>
          <p:cNvPr id="12" name="Logo_SBB_CargoInt_H" hidden="1">
            <a:extLst>
              <a:ext uri="{FF2B5EF4-FFF2-40B4-BE49-F238E27FC236}">
                <a16:creationId xmlns:a16="http://schemas.microsoft.com/office/drawing/2014/main" id="{131A7DC8-9674-490D-A909-613CE2451C25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459201" y="432000"/>
            <a:ext cx="4217116" cy="312083"/>
          </a:xfrm>
          <a:prstGeom prst="rect">
            <a:avLst/>
          </a:prstGeom>
        </p:spPr>
      </p:pic>
      <p:pic>
        <p:nvPicPr>
          <p:cNvPr id="13" name="Logo_SBB_Standard_D" hidden="1">
            <a:extLst>
              <a:ext uri="{FF2B5EF4-FFF2-40B4-BE49-F238E27FC236}">
                <a16:creationId xmlns:a16="http://schemas.microsoft.com/office/drawing/2014/main" id="{846D5CAE-9CEF-48FD-827D-D7616C83ECB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1" y="432001"/>
            <a:ext cx="2807092" cy="313735"/>
          </a:xfrm>
          <a:prstGeom prst="rect">
            <a:avLst/>
          </a:prstGeom>
        </p:spPr>
      </p:pic>
      <p:pic>
        <p:nvPicPr>
          <p:cNvPr id="14" name="Logo_SBB_Standard_H">
            <a:extLst>
              <a:ext uri="{FF2B5EF4-FFF2-40B4-BE49-F238E27FC236}">
                <a16:creationId xmlns:a16="http://schemas.microsoft.com/office/drawing/2014/main" id="{1A09026F-AB72-4393-BAF3-D0CF774B4873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000003" y="432000"/>
            <a:ext cx="2791575" cy="312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2475998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408859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49620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1312973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3593996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458317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23827162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13741548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45270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6055723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9047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Agenda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6" y="1509185"/>
            <a:ext cx="11039215" cy="5088467"/>
          </a:xfrm>
          <a:prstGeom prst="rect">
            <a:avLst/>
          </a:prstGeom>
        </p:spPr>
        <p:txBody>
          <a:bodyPr/>
          <a:lstStyle>
            <a:lvl1pPr marL="383990" indent="-383990">
              <a:spcBef>
                <a:spcPts val="800"/>
              </a:spcBef>
              <a:buSzPct val="100000"/>
              <a:buFont typeface="+mj-lt"/>
              <a:buAutoNum type="arabicPeriod"/>
              <a:defRPr/>
            </a:lvl1pPr>
            <a:lvl2pPr marL="723882" indent="-368291">
              <a:spcBef>
                <a:spcPts val="800"/>
              </a:spcBef>
              <a:defRPr/>
            </a:lvl2pPr>
            <a:lvl3pPr marL="1077357" indent="-353475">
              <a:spcBef>
                <a:spcPts val="800"/>
              </a:spcBef>
              <a:tabLst/>
              <a:defRPr/>
            </a:lvl3pPr>
            <a:lvl4pPr marL="1430831" indent="-353475">
              <a:spcBef>
                <a:spcPts val="800"/>
              </a:spcBef>
              <a:tabLst/>
              <a:defRPr/>
            </a:lvl4pPr>
            <a:lvl5pPr marL="1786422" indent="-355591">
              <a:spcBef>
                <a:spcPts val="800"/>
              </a:spcBef>
              <a:defRPr/>
            </a:lvl5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32278952-E884-4B4A-871D-42F338B3E8E3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68965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16365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802538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031906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54355069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22851577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994281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9607615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505282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6289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094772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Agenda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E59F5921-86CF-4E9B-A505-04830F74C07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09428816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6362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9973107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9741148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74276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11797827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7407408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2989195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6306149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03564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408646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Tex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Zweispaltige Tex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13" hasCustomPrompt="1"/>
          </p:nvPr>
        </p:nvSpPr>
        <p:spPr>
          <a:xfrm>
            <a:off x="6384000" y="1509184"/>
            <a:ext cx="5376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C346BCAC-1E9D-4596-9ACA-18319FE92E9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13838261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0809951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0625406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7382475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53781035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3060949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9602749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10545335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99702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170856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263527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1509184"/>
            <a:ext cx="11040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pic>
        <p:nvPicPr>
          <p:cNvPr id="6" name="Logo_SBB_Symbol">
            <a:extLst>
              <a:ext uri="{FF2B5EF4-FFF2-40B4-BE49-F238E27FC236}">
                <a16:creationId xmlns:a16="http://schemas.microsoft.com/office/drawing/2014/main" id="{7E10FE14-391B-401F-99CE-D5050829437C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8972746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5765008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2011135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573770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00191947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574EBBD-E33C-4E0D-BEAA-05F39FCC7A1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2D1D70FF-B73A-44D8-AF52-B86C90DE4108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5667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E296DA4F-01FE-48FF-9EB9-85CF5BF01B6F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3039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05EF66CD-E082-4DD4-AF19-1277D4B0BAA6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8041138" y="1949450"/>
            <a:ext cx="3600000" cy="446908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21E2109-7BFC-4F17-81BF-01827EE4C3B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32318873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2630">
          <p15:clr>
            <a:srgbClr val="FBAE40"/>
          </p15:clr>
        </p15:guide>
        <p15:guide id="3" pos="4979">
          <p15:clr>
            <a:srgbClr val="FBAE40"/>
          </p15:clr>
        </p15:guide>
        <p15:guide id="4" pos="5063">
          <p15:clr>
            <a:srgbClr val="FBAE40"/>
          </p15:clr>
        </p15:guide>
        <p15:guide id="5" pos="7336">
          <p15:clr>
            <a:srgbClr val="FBAE40"/>
          </p15:clr>
        </p15:guide>
        <p15:guide id="6" pos="2706">
          <p15:clr>
            <a:srgbClr val="FBAE40"/>
          </p15:clr>
        </p15:guide>
        <p15:guide id="7" orient="horz" pos="4043">
          <p15:clr>
            <a:srgbClr val="FBAE40"/>
          </p15:clr>
        </p15:guide>
        <p15:guide id="8" orient="horz" pos="1228">
          <p15:clr>
            <a:srgbClr val="FBAE40"/>
          </p15:clr>
        </p15:guide>
      </p15:sldGuideLst>
    </p:ext>
  </p:extLst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6629306-0AA9-4524-9D9F-BF111CB62962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3" name="Inhaltsplatzhalter 3">
            <a:extLst>
              <a:ext uri="{FF2B5EF4-FFF2-40B4-BE49-F238E27FC236}">
                <a16:creationId xmlns:a16="http://schemas.microsoft.com/office/drawing/2014/main" id="{08517FB4-1478-449A-B35A-0071DA5D763D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566738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4" name="Inhaltsplatzhalter 3">
            <a:extLst>
              <a:ext uri="{FF2B5EF4-FFF2-40B4-BE49-F238E27FC236}">
                <a16:creationId xmlns:a16="http://schemas.microsoft.com/office/drawing/2014/main" id="{1A4ABB4F-2517-43F4-A0FC-DCE0C692E8FD}"/>
              </a:ext>
            </a:extLst>
          </p:cNvPr>
          <p:cNvSpPr>
            <a:spLocks noGrp="1"/>
          </p:cNvSpPr>
          <p:nvPr>
            <p:ph sz="quarter" idx="18"/>
          </p:nvPr>
        </p:nvSpPr>
        <p:spPr>
          <a:xfrm>
            <a:off x="3378201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722827A8-E258-45E5-8ABC-AE4AE85283F8}"/>
              </a:ext>
            </a:extLst>
          </p:cNvPr>
          <p:cNvSpPr>
            <a:spLocks noGrp="1"/>
          </p:cNvSpPr>
          <p:nvPr>
            <p:ph sz="quarter" idx="19"/>
          </p:nvPr>
        </p:nvSpPr>
        <p:spPr>
          <a:xfrm>
            <a:off x="6189664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9B3F32E6-2F69-44D2-83C6-CD6AA4BEDA96}"/>
              </a:ext>
            </a:extLst>
          </p:cNvPr>
          <p:cNvSpPr>
            <a:spLocks noGrp="1"/>
          </p:cNvSpPr>
          <p:nvPr>
            <p:ph sz="quarter" idx="20"/>
          </p:nvPr>
        </p:nvSpPr>
        <p:spPr>
          <a:xfrm>
            <a:off x="9001126" y="1949450"/>
            <a:ext cx="2640012" cy="4468253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43DC29E0-21E5-4AA6-86AE-F91A1440515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270142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9">
          <p15:clr>
            <a:srgbClr val="FBAE40"/>
          </p15:clr>
        </p15:guide>
        <p15:guide id="2" pos="7336">
          <p15:clr>
            <a:srgbClr val="FBAE40"/>
          </p15:clr>
        </p15:guide>
        <p15:guide id="3" pos="5665">
          <p15:clr>
            <a:srgbClr val="FBAE40"/>
          </p15:clr>
        </p15:guide>
        <p15:guide id="4" pos="5567">
          <p15:clr>
            <a:srgbClr val="FBAE40"/>
          </p15:clr>
        </p15:guide>
        <p15:guide id="5" pos="3896">
          <p15:clr>
            <a:srgbClr val="FBAE40"/>
          </p15:clr>
        </p15:guide>
        <p15:guide id="6" pos="3793">
          <p15:clr>
            <a:srgbClr val="FBAE40"/>
          </p15:clr>
        </p15:guide>
        <p15:guide id="7" pos="2027">
          <p15:clr>
            <a:srgbClr val="FBAE40"/>
          </p15:clr>
        </p15:guide>
        <p15:guide id="8" pos="2126">
          <p15:clr>
            <a:srgbClr val="FBAE40"/>
          </p15:clr>
        </p15:guide>
        <p15:guide id="9" orient="horz" pos="1228">
          <p15:clr>
            <a:srgbClr val="FBAE40"/>
          </p15:clr>
        </p15:guide>
        <p15:guide id="10" orient="horz" pos="4043">
          <p15:clr>
            <a:srgbClr val="FBAE40"/>
          </p15:clr>
        </p15:guide>
      </p15:sldGuideLst>
    </p:ext>
  </p:extLst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959602" y="1949451"/>
            <a:ext cx="4681536" cy="4325018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81DE798-3315-46D1-8982-1EC3DCDA15A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959601" y="493295"/>
            <a:ext cx="3748087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F5AB9AC5-9618-4880-9803-18A1618DB523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0" y="584684"/>
            <a:ext cx="6040438" cy="5689116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4335545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4384">
          <p15:clr>
            <a:srgbClr val="FBAE40"/>
          </p15:clr>
        </p15:guide>
        <p15:guide id="4" pos="7336">
          <p15:clr>
            <a:srgbClr val="FBAE40"/>
          </p15:clr>
        </p15:guide>
        <p15:guide id="5" pos="5055">
          <p15:clr>
            <a:srgbClr val="FBAE40"/>
          </p15:clr>
        </p15:guide>
        <p15:guide id="6" pos="3805">
          <p15:clr>
            <a:srgbClr val="FBAE40"/>
          </p15:clr>
        </p15:guide>
      </p15:sldGuideLst>
    </p:ext>
  </p:extLst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8976320" y="1052736"/>
            <a:ext cx="2664817" cy="5221734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-1" y="1052736"/>
            <a:ext cx="8441635" cy="52217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AE50D17D-F2ED-4307-B9CF-CDFB45AF6CFA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6954146" cy="451429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7482196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5" pos="5320">
          <p15:clr>
            <a:srgbClr val="FBAE40"/>
          </p15:clr>
        </p15:guide>
        <p15:guide id="6" orient="horz" pos="1228">
          <p15:clr>
            <a:srgbClr val="FBAE40"/>
          </p15:clr>
        </p15:guide>
      </p15:sldGuideLst>
    </p:ext>
  </p:extLst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1243" y="1046110"/>
            <a:ext cx="5486817" cy="522216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1046109"/>
            <a:ext cx="5486817" cy="522217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itel 3">
            <a:extLst>
              <a:ext uri="{FF2B5EF4-FFF2-40B4-BE49-F238E27FC236}">
                <a16:creationId xmlns:a16="http://schemas.microsoft.com/office/drawing/2014/main" id="{1F51E53D-C313-41FC-A50A-98353390A2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9742" y="538430"/>
            <a:ext cx="5462064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2B014520-9BB1-4AC3-9DDF-40162DCBE21F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6167438" y="538430"/>
            <a:ext cx="454025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2757264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65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5472502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166768" y="3609019"/>
            <a:ext cx="5474369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436" y="584684"/>
            <a:ext cx="5474369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E2A2652-2BC1-44A2-B054-B7F5D1FF7A7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66769" y="584683"/>
            <a:ext cx="5474369" cy="277764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1785964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3795">
          <p15:clr>
            <a:srgbClr val="FBAE40"/>
          </p15:clr>
        </p15:guide>
        <p15:guide id="6" pos="337">
          <p15:clr>
            <a:srgbClr val="FBAE40"/>
          </p15:clr>
        </p15:guide>
        <p15:guide id="7" pos="3880">
          <p15:clr>
            <a:srgbClr val="FBAE40"/>
          </p15:clr>
        </p15:guide>
        <p15:guide id="8" pos="733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, Text und Obje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Objektfolie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8" name="Inhaltsplatzhalter 7"/>
          <p:cNvSpPr>
            <a:spLocks noGrp="1"/>
          </p:cNvSpPr>
          <p:nvPr>
            <p:ph sz="quarter" idx="12" hasCustomPrompt="1"/>
          </p:nvPr>
        </p:nvSpPr>
        <p:spPr>
          <a:xfrm>
            <a:off x="719665" y="2467200"/>
            <a:ext cx="11040000" cy="41280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19667" y="1509184"/>
            <a:ext cx="11038417" cy="8544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pPr lvl="0"/>
            <a:r>
              <a:rPr lang="de-DE" noProof="0"/>
              <a:t>Text durch Klicken hinzufügen</a:t>
            </a:r>
          </a:p>
        </p:txBody>
      </p:sp>
      <p:pic>
        <p:nvPicPr>
          <p:cNvPr id="9" name="Logo_SBB_Symbol">
            <a:extLst>
              <a:ext uri="{FF2B5EF4-FFF2-40B4-BE49-F238E27FC236}">
                <a16:creationId xmlns:a16="http://schemas.microsoft.com/office/drawing/2014/main" id="{0D917B75-7E27-45DF-8CD5-2AD4188F42D1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80754702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Bilder und Text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6557964" y="1949451"/>
            <a:ext cx="5083174" cy="4325018"/>
          </a:xfrm>
        </p:spPr>
        <p:txBody>
          <a:bodyPr/>
          <a:lstStyle>
            <a:lvl1pPr>
              <a:lnSpc>
                <a:spcPct val="112000"/>
              </a:lnSpc>
              <a:defRPr sz="1400"/>
            </a:lvl1pPr>
            <a:lvl2pPr marL="216000" indent="-216000">
              <a:lnSpc>
                <a:spcPct val="112000"/>
              </a:lnSpc>
              <a:defRPr sz="1400"/>
            </a:lvl2pPr>
            <a:lvl3pPr marL="432000" indent="-216000">
              <a:lnSpc>
                <a:spcPct val="112000"/>
              </a:lnSpc>
              <a:defRPr sz="1400"/>
            </a:lvl3pPr>
            <a:lvl4pPr marL="648000" indent="-216000">
              <a:lnSpc>
                <a:spcPct val="112000"/>
              </a:lnSpc>
              <a:defRPr sz="1400"/>
            </a:lvl4pPr>
            <a:lvl5pPr marL="864000" indent="-216000">
              <a:lnSpc>
                <a:spcPct val="112000"/>
              </a:lnSpc>
              <a:defRPr sz="1400"/>
            </a:lvl5pPr>
            <a:lvl6pPr marL="216000" indent="-216000">
              <a:lnSpc>
                <a:spcPct val="112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550862" y="584684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6C4C6B99-9B0B-4488-BFD9-0201BA21A7D1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50862" y="3501492"/>
            <a:ext cx="5479138" cy="277230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8C76682-594C-451F-B868-929E3C2719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557962" y="493295"/>
            <a:ext cx="4149726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0072428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3" pos="3805">
          <p15:clr>
            <a:srgbClr val="FBAE40"/>
          </p15:clr>
        </p15:guide>
        <p15:guide id="4" pos="7336">
          <p15:clr>
            <a:srgbClr val="FBAE40"/>
          </p15:clr>
        </p15:guide>
        <p15:guide id="5" pos="4131">
          <p15:clr>
            <a:srgbClr val="FBAE40"/>
          </p15:clr>
        </p15:guide>
        <p15:guide id="6" pos="345">
          <p15:clr>
            <a:srgbClr val="FBAE40"/>
          </p15:clr>
        </p15:guide>
        <p15:guide id="7" orient="horz" pos="2118">
          <p15:clr>
            <a:srgbClr val="FBAE40"/>
          </p15:clr>
        </p15:guide>
        <p15:guide id="8" orient="horz" pos="2202">
          <p15:clr>
            <a:srgbClr val="FBAE40"/>
          </p15:clr>
        </p15:guide>
      </p15:sldGuideLst>
    </p:ext>
  </p:extLst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4774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441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922"/>
            <a:ext cx="3600000" cy="522798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2" name="Titel 3">
            <a:extLst>
              <a:ext uri="{FF2B5EF4-FFF2-40B4-BE49-F238E27FC236}">
                <a16:creationId xmlns:a16="http://schemas.microsoft.com/office/drawing/2014/main" id="{8D7BA7E7-E234-4A0A-84DE-57AA9B9057C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7746" y="538430"/>
            <a:ext cx="3600000" cy="262689"/>
          </a:xfrm>
        </p:spPr>
        <p:txBody>
          <a:bodyPr/>
          <a:lstStyle>
            <a:lvl1pPr>
              <a:defRPr sz="1600"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6" name="Textplatzhalter 5">
            <a:extLst>
              <a:ext uri="{FF2B5EF4-FFF2-40B4-BE49-F238E27FC236}">
                <a16:creationId xmlns:a16="http://schemas.microsoft.com/office/drawing/2014/main" id="{6BE1D084-20F1-40AB-A68B-EA733A683D4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4289425" y="538430"/>
            <a:ext cx="36000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  <p:sp>
        <p:nvSpPr>
          <p:cNvPr id="19" name="Textplatzhalter 5">
            <a:extLst>
              <a:ext uri="{FF2B5EF4-FFF2-40B4-BE49-F238E27FC236}">
                <a16:creationId xmlns:a16="http://schemas.microsoft.com/office/drawing/2014/main" id="{38CE26F8-95BC-41DC-8383-7DFCBA2157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047388" y="538430"/>
            <a:ext cx="2660300" cy="262689"/>
          </a:xfrm>
        </p:spPr>
        <p:txBody>
          <a:bodyPr/>
          <a:lstStyle>
            <a:lvl1pPr>
              <a:defRPr sz="1600" spc="60" baseline="0">
                <a:solidFill>
                  <a:schemeClr val="accent3"/>
                </a:solidFill>
              </a:defRPr>
            </a:lvl1pPr>
            <a:lvl2pPr>
              <a:defRPr sz="1600"/>
            </a:lvl2pPr>
            <a:lvl3pPr>
              <a:defRPr sz="1600"/>
            </a:lvl3pPr>
            <a:lvl4pPr>
              <a:defRPr sz="1600"/>
            </a:lvl4pPr>
            <a:lvl5pPr>
              <a:defRPr sz="1600"/>
            </a:lvl5pPr>
          </a:lstStyle>
          <a:p>
            <a:pPr lvl="0"/>
            <a:r>
              <a:rPr lang="de-DE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417567968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ei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3609019"/>
            <a:ext cx="3599999" cy="2809243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584684"/>
            <a:ext cx="3622675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584684"/>
            <a:ext cx="3610227" cy="277764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37513" y="3609019"/>
            <a:ext cx="3598764" cy="2809516"/>
          </a:xfrm>
        </p:spPr>
        <p:txBody>
          <a:bodyPr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170825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270">
          <p15:clr>
            <a:srgbClr val="FBAE40"/>
          </p15:clr>
        </p15:guide>
        <p15:guide id="2" orient="horz" pos="2118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</p15:sldGuideLst>
    </p:ext>
  </p:extLst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Vier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7E1014B-A06B-49DE-B7AC-63971F6B96D7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51113" y="584200"/>
            <a:ext cx="2664817" cy="5690270"/>
          </a:xfrm>
        </p:spPr>
        <p:txBody>
          <a:bodyPr anchor="ctr"/>
          <a:lstStyle>
            <a:lvl1pPr>
              <a:lnSpc>
                <a:spcPct val="108000"/>
              </a:lnSpc>
              <a:defRPr sz="1400"/>
            </a:lvl1pPr>
            <a:lvl2pPr marL="216000" indent="-216000">
              <a:lnSpc>
                <a:spcPct val="108000"/>
              </a:lnSpc>
              <a:defRPr sz="1400"/>
            </a:lvl2pPr>
            <a:lvl3pPr marL="432000" indent="-216000">
              <a:lnSpc>
                <a:spcPct val="108000"/>
              </a:lnSpc>
              <a:defRPr sz="1400"/>
            </a:lvl3pPr>
            <a:lvl4pPr marL="648000" indent="-216000">
              <a:lnSpc>
                <a:spcPct val="108000"/>
              </a:lnSpc>
              <a:defRPr sz="1400"/>
            </a:lvl4pPr>
            <a:lvl5pPr marL="864000" indent="-216000">
              <a:lnSpc>
                <a:spcPct val="108000"/>
              </a:lnSpc>
              <a:defRPr sz="1400"/>
            </a:lvl5pPr>
            <a:lvl6pPr marL="216000" indent="-216000">
              <a:lnSpc>
                <a:spcPct val="108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3283C3B8-4DFA-49C0-B021-CB0D9481CF49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42960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F2C5D61B-00D5-48F1-961D-FE331B1627C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01647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0AAEB8C3-8198-4C5D-841C-E2D5F3D0E5A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045900" y="3501008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DF8E4FED-B666-455C-AF42-09BBFAF8DB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5900" y="584200"/>
            <a:ext cx="3600000" cy="277279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7211959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3952">
          <p15:clr>
            <a:srgbClr val="FBAE40"/>
          </p15:clr>
        </p15:guide>
        <p15:guide id="4" pos="7336">
          <p15:clr>
            <a:srgbClr val="FBAE40"/>
          </p15:clr>
        </p15:guide>
        <p15:guide id="6" pos="345">
          <p15:clr>
            <a:srgbClr val="FBAE40"/>
          </p15:clr>
        </p15:guide>
        <p15:guide id="7" pos="2702">
          <p15:clr>
            <a:srgbClr val="FBAE40"/>
          </p15:clr>
        </p15:guide>
      </p15:sldGuideLst>
    </p:ext>
  </p:extLst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ünf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3538" y="4529137"/>
            <a:ext cx="2113324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Bildplatzhalter 4">
            <a:extLst>
              <a:ext uri="{FF2B5EF4-FFF2-40B4-BE49-F238E27FC236}">
                <a16:creationId xmlns:a16="http://schemas.microsoft.com/office/drawing/2014/main" id="{440063FD-2C92-4D42-B1A2-EA82BEBB5EE7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278224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6" name="Bildplatzhalter 4">
            <a:extLst>
              <a:ext uri="{FF2B5EF4-FFF2-40B4-BE49-F238E27FC236}">
                <a16:creationId xmlns:a16="http://schemas.microsoft.com/office/drawing/2014/main" id="{6467BB9A-5244-40C4-8024-19FEDD14B501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502950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7" name="Bildplatzhalter 4">
            <a:extLst>
              <a:ext uri="{FF2B5EF4-FFF2-40B4-BE49-F238E27FC236}">
                <a16:creationId xmlns:a16="http://schemas.microsoft.com/office/drawing/2014/main" id="{1D2FDDDE-67BF-42B6-818C-95EC23E85932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7276768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8" name="Bildplatzhalter 4">
            <a:extLst>
              <a:ext uri="{FF2B5EF4-FFF2-40B4-BE49-F238E27FC236}">
                <a16:creationId xmlns:a16="http://schemas.microsoft.com/office/drawing/2014/main" id="{D89DC0BC-155F-4CEB-8587-1204CDB07CB1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9524026" y="1508416"/>
            <a:ext cx="2121874" cy="275443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9" name="Textplatzhalter 16">
            <a:extLst>
              <a:ext uri="{FF2B5EF4-FFF2-40B4-BE49-F238E27FC236}">
                <a16:creationId xmlns:a16="http://schemas.microsoft.com/office/drawing/2014/main" id="{2B3665A0-B00A-44D2-B58A-35E8FDA6A77C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27797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0" name="Textplatzhalter 16">
            <a:extLst>
              <a:ext uri="{FF2B5EF4-FFF2-40B4-BE49-F238E27FC236}">
                <a16:creationId xmlns:a16="http://schemas.microsoft.com/office/drawing/2014/main" id="{9B616786-626B-4E22-AD14-A92B5C964E54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50276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1" name="Textplatzhalter 16">
            <a:extLst>
              <a:ext uri="{FF2B5EF4-FFF2-40B4-BE49-F238E27FC236}">
                <a16:creationId xmlns:a16="http://schemas.microsoft.com/office/drawing/2014/main" id="{E6FCF680-3050-4529-9BB2-215BDF42F400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7267575" y="4529137"/>
            <a:ext cx="2124000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2" name="Textplatzhalter 16">
            <a:extLst>
              <a:ext uri="{FF2B5EF4-FFF2-40B4-BE49-F238E27FC236}">
                <a16:creationId xmlns:a16="http://schemas.microsoft.com/office/drawing/2014/main" id="{9859DCA0-03B4-4F8B-96CD-25DDD7AF6B03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9523413" y="4529137"/>
            <a:ext cx="2125049" cy="1889125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28CF96AA-B7FF-42B7-B3D1-757EFB0BC09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71007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691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944">
          <p15:clr>
            <a:srgbClr val="FBAE40"/>
          </p15:clr>
        </p15:guide>
        <p15:guide id="5" pos="1679">
          <p15:clr>
            <a:srgbClr val="FBAE40"/>
          </p15:clr>
        </p15:guide>
        <p15:guide id="6" pos="337">
          <p15:clr>
            <a:srgbClr val="FBAE40"/>
          </p15:clr>
        </p15:guide>
        <p15:guide id="7" pos="1751">
          <p15:clr>
            <a:srgbClr val="FBAE40"/>
          </p15:clr>
        </p15:guide>
        <p15:guide id="8" pos="7336">
          <p15:clr>
            <a:srgbClr val="FBAE40"/>
          </p15:clr>
        </p15:guide>
        <p15:guide id="9" pos="4578">
          <p15:clr>
            <a:srgbClr val="FBAE40"/>
          </p15:clr>
        </p15:guide>
        <p15:guide id="10" pos="4509">
          <p15:clr>
            <a:srgbClr val="FBAE40"/>
          </p15:clr>
        </p15:guide>
        <p15:guide id="11" orient="horz" pos="2850">
          <p15:clr>
            <a:srgbClr val="FBAE40"/>
          </p15:clr>
        </p15:guide>
        <p15:guide id="12" pos="3092">
          <p15:clr>
            <a:srgbClr val="FBAE40"/>
          </p15:clr>
        </p15:guide>
        <p15:guide id="13" pos="3164">
          <p15:clr>
            <a:srgbClr val="FBAE40"/>
          </p15:clr>
        </p15:guide>
        <p15:guide id="14" pos="5927">
          <p15:clr>
            <a:srgbClr val="FBAE40"/>
          </p15:clr>
        </p15:guide>
        <p15:guide id="15" pos="5999">
          <p15:clr>
            <a:srgbClr val="FBAE40"/>
          </p15:clr>
        </p15:guide>
      </p15:sldGuideLst>
    </p:ext>
  </p:extLst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hs Bilder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Bildplatzhalter 4">
            <a:extLst>
              <a:ext uri="{FF2B5EF4-FFF2-40B4-BE49-F238E27FC236}">
                <a16:creationId xmlns:a16="http://schemas.microsoft.com/office/drawing/2014/main" id="{64409250-64E5-4189-B25D-03288E9150DF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34988" y="3825044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81DFFCF-7498-4E8B-8420-E887B9B2DC4B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294285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548E3796-0490-4E76-93A8-994EE7C8C932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8041136" y="3825044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493B9F-BAD5-4F72-AE55-087E4577E493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7" name="Textplatzhalter 16">
            <a:extLst>
              <a:ext uri="{FF2B5EF4-FFF2-40B4-BE49-F238E27FC236}">
                <a16:creationId xmlns:a16="http://schemas.microsoft.com/office/drawing/2014/main" id="{CDF117C9-D89B-4905-A5A0-2D0F1A7C1F3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547436" y="2785313"/>
            <a:ext cx="3599999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8" name="Textplatzhalter 16">
            <a:extLst>
              <a:ext uri="{FF2B5EF4-FFF2-40B4-BE49-F238E27FC236}">
                <a16:creationId xmlns:a16="http://schemas.microsoft.com/office/drawing/2014/main" id="{DF0BC6F3-C6AA-46AD-8EA1-BAFE30CC9162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294287" y="2785312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63229696-ACA4-4F51-9703-BF484C61555C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34988" y="1046747"/>
            <a:ext cx="3622675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61C0B818-2BEB-4073-9963-0504D1649E0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294285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96D75994-F54D-48BC-B545-9E31EFD92BE4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8041136" y="1046747"/>
            <a:ext cx="3610227" cy="1618248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16">
            <a:extLst>
              <a:ext uri="{FF2B5EF4-FFF2-40B4-BE49-F238E27FC236}">
                <a16:creationId xmlns:a16="http://schemas.microsoft.com/office/drawing/2014/main" id="{09448057-5B77-4F6C-8ED5-F7160EEBC59B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046147" y="2785312"/>
            <a:ext cx="3590130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1" name="Textplatzhalter 16">
            <a:extLst>
              <a:ext uri="{FF2B5EF4-FFF2-40B4-BE49-F238E27FC236}">
                <a16:creationId xmlns:a16="http://schemas.microsoft.com/office/drawing/2014/main" id="{B4019FE9-92BF-4440-9E7E-DDE2AA26A4EC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543889" y="5569938"/>
            <a:ext cx="3613774" cy="763930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2" name="Textplatzhalter 16">
            <a:extLst>
              <a:ext uri="{FF2B5EF4-FFF2-40B4-BE49-F238E27FC236}">
                <a16:creationId xmlns:a16="http://schemas.microsoft.com/office/drawing/2014/main" id="{17138E11-D365-4974-9084-9F22E0611EF6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4302921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3" name="Textplatzhalter 16">
            <a:extLst>
              <a:ext uri="{FF2B5EF4-FFF2-40B4-BE49-F238E27FC236}">
                <a16:creationId xmlns:a16="http://schemas.microsoft.com/office/drawing/2014/main" id="{2253C73E-CBF1-4BFB-93EB-D4594C8DF4EC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8046147" y="5569938"/>
            <a:ext cx="3598764" cy="764004"/>
          </a:xfrm>
        </p:spPr>
        <p:txBody>
          <a:bodyPr/>
          <a:lstStyle>
            <a:lvl1pPr>
              <a:lnSpc>
                <a:spcPct val="117000"/>
              </a:lnSpc>
              <a:defRPr sz="1400"/>
            </a:lvl1pPr>
            <a:lvl2pPr marL="216000" indent="-216000">
              <a:lnSpc>
                <a:spcPct val="117000"/>
              </a:lnSpc>
              <a:defRPr sz="1400"/>
            </a:lvl2pPr>
            <a:lvl3pPr marL="432000" indent="-216000">
              <a:lnSpc>
                <a:spcPct val="117000"/>
              </a:lnSpc>
              <a:defRPr sz="1400"/>
            </a:lvl3pPr>
            <a:lvl4pPr marL="648000" indent="-216000">
              <a:lnSpc>
                <a:spcPct val="117000"/>
              </a:lnSpc>
              <a:defRPr sz="1400"/>
            </a:lvl4pPr>
            <a:lvl5pPr marL="864000" indent="-216000">
              <a:lnSpc>
                <a:spcPct val="117000"/>
              </a:lnSpc>
              <a:defRPr sz="1400"/>
            </a:lvl5pPr>
            <a:lvl6pPr marL="216000" indent="-216000">
              <a:lnSpc>
                <a:spcPct val="117000"/>
              </a:lnSpc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B52248A4-8352-478D-BDF5-FA3D2AE3921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218228" cy="487433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5930376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3">
          <p15:clr>
            <a:srgbClr val="FBAE40"/>
          </p15:clr>
        </p15:guide>
        <p15:guide id="2" orient="horz" pos="1686">
          <p15:clr>
            <a:srgbClr val="FBAE40"/>
          </p15:clr>
        </p15:guide>
        <p15:guide id="3" orient="horz" pos="4040">
          <p15:clr>
            <a:srgbClr val="FBAE40"/>
          </p15:clr>
        </p15:guide>
        <p15:guide id="4" orient="horz" pos="368">
          <p15:clr>
            <a:srgbClr val="FBAE40"/>
          </p15:clr>
        </p15:guide>
        <p15:guide id="5" pos="2619">
          <p15:clr>
            <a:srgbClr val="FBAE40"/>
          </p15:clr>
        </p15:guide>
        <p15:guide id="6" pos="337">
          <p15:clr>
            <a:srgbClr val="FBAE40"/>
          </p15:clr>
        </p15:guide>
        <p15:guide id="7" pos="2702">
          <p15:clr>
            <a:srgbClr val="FBAE40"/>
          </p15:clr>
        </p15:guide>
        <p15:guide id="8" pos="7336">
          <p15:clr>
            <a:srgbClr val="FBAE40"/>
          </p15:clr>
        </p15:guide>
        <p15:guide id="9" pos="5063">
          <p15:clr>
            <a:srgbClr val="FBAE40"/>
          </p15:clr>
        </p15:guide>
        <p15:guide id="10" pos="4979">
          <p15:clr>
            <a:srgbClr val="FBAE40"/>
          </p15:clr>
        </p15:guide>
        <p15:guide id="11" orient="horz" pos="3429">
          <p15:clr>
            <a:srgbClr val="FBAE40"/>
          </p15:clr>
        </p15:guide>
      </p15:sldGuideLst>
    </p:ext>
  </p:extLst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4301290" y="1858879"/>
            <a:ext cx="6406398" cy="340632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08000"/>
              </a:lnSpc>
              <a:defRPr sz="2100" spc="40" baseline="0"/>
            </a:lvl1pPr>
            <a:lvl2pPr>
              <a:lnSpc>
                <a:spcPct val="108000"/>
              </a:lnSpc>
              <a:defRPr sz="2100" spc="40" baseline="0"/>
            </a:lvl2pPr>
            <a:lvl3pPr>
              <a:lnSpc>
                <a:spcPct val="108000"/>
              </a:lnSpc>
              <a:defRPr sz="2100" spc="40" baseline="0"/>
            </a:lvl3pPr>
            <a:lvl4pPr>
              <a:lnSpc>
                <a:spcPct val="108000"/>
              </a:lnSpc>
              <a:defRPr sz="2100" spc="40" baseline="0"/>
            </a:lvl4pPr>
            <a:lvl5pPr>
              <a:lnSpc>
                <a:spcPct val="108000"/>
              </a:lnSpc>
              <a:defRPr sz="2100" spc="40" baseline="0"/>
            </a:lvl5pPr>
            <a:lvl6pPr>
              <a:lnSpc>
                <a:spcPct val="108000"/>
              </a:lnSpc>
              <a:defRPr sz="21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4312" y="1907005"/>
            <a:ext cx="2269541" cy="2983832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6" name="Textplatzhalter 5">
            <a:extLst>
              <a:ext uri="{FF2B5EF4-FFF2-40B4-BE49-F238E27FC236}">
                <a16:creationId xmlns:a16="http://schemas.microsoft.com/office/drawing/2014/main" id="{B03346D9-FB45-4867-A396-ED89DA22280F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295775" y="5588668"/>
            <a:ext cx="6411913" cy="829595"/>
          </a:xfrm>
        </p:spPr>
        <p:txBody>
          <a:bodyPr/>
          <a:lstStyle>
            <a:lvl1pPr>
              <a:lnSpc>
                <a:spcPct val="114000"/>
              </a:lnSpc>
              <a:defRPr sz="1400" spc="40" baseline="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de-DE"/>
              <a:t>Mastertext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1CCC01BC-AAA0-4D9D-9FD8-BCEC08761D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664793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410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vier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4312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485499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097DDD21-AF8E-4D8F-9E81-C3512B79BD5E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897383" y="2083600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3" name="Bildplatzhalter 4">
            <a:extLst>
              <a:ext uri="{FF2B5EF4-FFF2-40B4-BE49-F238E27FC236}">
                <a16:creationId xmlns:a16="http://schemas.microsoft.com/office/drawing/2014/main" id="{4C3FDE3D-7494-4C3B-B2CF-5F8A5F90B0CC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6312408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4" name="Bildplatzhalter 4">
            <a:extLst>
              <a:ext uri="{FF2B5EF4-FFF2-40B4-BE49-F238E27FC236}">
                <a16:creationId xmlns:a16="http://schemas.microsoft.com/office/drawing/2014/main" id="{2526A8A2-5ADB-4A9E-8F16-47028E654A1F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724292" y="2091071"/>
            <a:ext cx="1332000" cy="1656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12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5" name="Textplatzhalter 2">
            <a:extLst>
              <a:ext uri="{FF2B5EF4-FFF2-40B4-BE49-F238E27FC236}">
                <a16:creationId xmlns:a16="http://schemas.microsoft.com/office/drawing/2014/main" id="{BBF8312E-E5E2-408E-B0EE-62723B4297D3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3898415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6" name="Textplatzhalter 2">
            <a:extLst>
              <a:ext uri="{FF2B5EF4-FFF2-40B4-BE49-F238E27FC236}">
                <a16:creationId xmlns:a16="http://schemas.microsoft.com/office/drawing/2014/main" id="{0113B521-BFE2-4399-805F-6476DD239713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6312518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7" name="Textplatzhalter 2">
            <a:extLst>
              <a:ext uri="{FF2B5EF4-FFF2-40B4-BE49-F238E27FC236}">
                <a16:creationId xmlns:a16="http://schemas.microsoft.com/office/drawing/2014/main" id="{BB561AA0-787D-4C94-993A-80329A9FF89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8726621" y="3896140"/>
            <a:ext cx="1981067" cy="252212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30000"/>
              </a:lnSpc>
              <a:defRPr sz="14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055E2250-93A9-4406-98F8-B4CDC1BC4EC3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8986407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am mit acht Mitglieder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631503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11" name="Bildplatzhalter 4">
            <a:extLst>
              <a:ext uri="{FF2B5EF4-FFF2-40B4-BE49-F238E27FC236}">
                <a16:creationId xmlns:a16="http://schemas.microsoft.com/office/drawing/2014/main" id="{0C630BFD-331A-403A-85C7-C5A4F6E1DB9B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56155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8" name="Bildplatzhalter 4">
            <a:extLst>
              <a:ext uri="{FF2B5EF4-FFF2-40B4-BE49-F238E27FC236}">
                <a16:creationId xmlns:a16="http://schemas.microsoft.com/office/drawing/2014/main" id="{6FE4A297-A689-4F17-B110-A8313B7828E1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6171396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19" name="Bildplatzhalter 4">
            <a:extLst>
              <a:ext uri="{FF2B5EF4-FFF2-40B4-BE49-F238E27FC236}">
                <a16:creationId xmlns:a16="http://schemas.microsoft.com/office/drawing/2014/main" id="{63DF1A88-47CB-427A-A6AD-78D69857AB83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366473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0" name="Bildplatzhalter 4">
            <a:extLst>
              <a:ext uri="{FF2B5EF4-FFF2-40B4-BE49-F238E27FC236}">
                <a16:creationId xmlns:a16="http://schemas.microsoft.com/office/drawing/2014/main" id="{369F8622-2F51-4D3C-9804-C2FFE83A5E11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897632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1" name="Bildplatzhalter 4">
            <a:extLst>
              <a:ext uri="{FF2B5EF4-FFF2-40B4-BE49-F238E27FC236}">
                <a16:creationId xmlns:a16="http://schemas.microsoft.com/office/drawing/2014/main" id="{0100649A-3EE7-484F-8840-CA5DC19F8258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561550" y="3999883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2" name="Bildplatzhalter 4">
            <a:extLst>
              <a:ext uri="{FF2B5EF4-FFF2-40B4-BE49-F238E27FC236}">
                <a16:creationId xmlns:a16="http://schemas.microsoft.com/office/drawing/2014/main" id="{B55120ED-FA62-41B3-BB93-49CF37C57C2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366473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3" name="Bildplatzhalter 4">
            <a:extLst>
              <a:ext uri="{FF2B5EF4-FFF2-40B4-BE49-F238E27FC236}">
                <a16:creationId xmlns:a16="http://schemas.microsoft.com/office/drawing/2014/main" id="{AA88392E-5D3C-4304-AE39-FB5387725E6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171396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4" name="Bildplatzhalter 4">
            <a:extLst>
              <a:ext uri="{FF2B5EF4-FFF2-40B4-BE49-F238E27FC236}">
                <a16:creationId xmlns:a16="http://schemas.microsoft.com/office/drawing/2014/main" id="{A35F3718-65B4-4392-93CB-1CF751C7B276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8976320" y="2312876"/>
            <a:ext cx="918000" cy="1186951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720000" anchor="ctr"/>
          <a:lstStyle>
            <a:lvl1pPr algn="ctr">
              <a:defRPr sz="800"/>
            </a:lvl1pPr>
          </a:lstStyle>
          <a:p>
            <a:r>
              <a:rPr lang="de-DE"/>
              <a:t>Bild durch Klicken auf Symbol hinzufügen</a:t>
            </a:r>
            <a:endParaRPr lang="de-CH"/>
          </a:p>
        </p:txBody>
      </p:sp>
      <p:sp>
        <p:nvSpPr>
          <p:cNvPr id="25" name="Textplatzhalter 2">
            <a:extLst>
              <a:ext uri="{FF2B5EF4-FFF2-40B4-BE49-F238E27FC236}">
                <a16:creationId xmlns:a16="http://schemas.microsoft.com/office/drawing/2014/main" id="{4B3219C0-DB30-4D57-9052-D99B39D1FEA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439226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6" name="Textplatzhalter 2">
            <a:extLst>
              <a:ext uri="{FF2B5EF4-FFF2-40B4-BE49-F238E27FC236}">
                <a16:creationId xmlns:a16="http://schemas.microsoft.com/office/drawing/2014/main" id="{C0BFAFCB-6FFE-4BCB-8D43-2D17548C34E7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246949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7" name="Textplatzhalter 2">
            <a:extLst>
              <a:ext uri="{FF2B5EF4-FFF2-40B4-BE49-F238E27FC236}">
                <a16:creationId xmlns:a16="http://schemas.microsoft.com/office/drawing/2014/main" id="{E0E94DD1-78C7-4606-A63D-BCCE006B0846}"/>
              </a:ext>
            </a:extLst>
          </p:cNvPr>
          <p:cNvSpPr>
            <a:spLocks noGrp="1"/>
          </p:cNvSpPr>
          <p:nvPr>
            <p:ph idx="25" hasCustomPrompt="1"/>
          </p:nvPr>
        </p:nvSpPr>
        <p:spPr>
          <a:xfrm>
            <a:off x="10054671" y="2255921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8" name="Textplatzhalter 2">
            <a:extLst>
              <a:ext uri="{FF2B5EF4-FFF2-40B4-BE49-F238E27FC236}">
                <a16:creationId xmlns:a16="http://schemas.microsoft.com/office/drawing/2014/main" id="{EFA5D121-281D-4F3A-B67A-BC47F100DE3F}"/>
              </a:ext>
            </a:extLst>
          </p:cNvPr>
          <p:cNvSpPr>
            <a:spLocks noGrp="1"/>
          </p:cNvSpPr>
          <p:nvPr>
            <p:ph idx="26" hasCustomPrompt="1"/>
          </p:nvPr>
        </p:nvSpPr>
        <p:spPr>
          <a:xfrm>
            <a:off x="1631503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29" name="Textplatzhalter 2">
            <a:extLst>
              <a:ext uri="{FF2B5EF4-FFF2-40B4-BE49-F238E27FC236}">
                <a16:creationId xmlns:a16="http://schemas.microsoft.com/office/drawing/2014/main" id="{DAC7AD13-4CB1-40B6-8229-ECCE0AC38776}"/>
              </a:ext>
            </a:extLst>
          </p:cNvPr>
          <p:cNvSpPr>
            <a:spLocks noGrp="1"/>
          </p:cNvSpPr>
          <p:nvPr>
            <p:ph idx="27" hasCustomPrompt="1"/>
          </p:nvPr>
        </p:nvSpPr>
        <p:spPr>
          <a:xfrm>
            <a:off x="4439226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0" name="Textplatzhalter 2">
            <a:extLst>
              <a:ext uri="{FF2B5EF4-FFF2-40B4-BE49-F238E27FC236}">
                <a16:creationId xmlns:a16="http://schemas.microsoft.com/office/drawing/2014/main" id="{F1A1FE98-08A8-43BA-A037-3A7927960120}"/>
              </a:ext>
            </a:extLst>
          </p:cNvPr>
          <p:cNvSpPr>
            <a:spLocks noGrp="1"/>
          </p:cNvSpPr>
          <p:nvPr>
            <p:ph idx="28" hasCustomPrompt="1"/>
          </p:nvPr>
        </p:nvSpPr>
        <p:spPr>
          <a:xfrm>
            <a:off x="7246949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1" name="Textplatzhalter 2">
            <a:extLst>
              <a:ext uri="{FF2B5EF4-FFF2-40B4-BE49-F238E27FC236}">
                <a16:creationId xmlns:a16="http://schemas.microsoft.com/office/drawing/2014/main" id="{0130F7F6-3D75-4F98-A8F4-EFBA8E91ED85}"/>
              </a:ext>
            </a:extLst>
          </p:cNvPr>
          <p:cNvSpPr>
            <a:spLocks noGrp="1"/>
          </p:cNvSpPr>
          <p:nvPr>
            <p:ph idx="29" hasCustomPrompt="1"/>
          </p:nvPr>
        </p:nvSpPr>
        <p:spPr>
          <a:xfrm>
            <a:off x="10054671" y="3963010"/>
            <a:ext cx="1440000" cy="124390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>
              <a:lnSpc>
                <a:spcPct val="125000"/>
              </a:lnSpc>
              <a:defRPr sz="1000" spc="40" baseline="0"/>
            </a:lvl1pPr>
            <a:lvl2pPr>
              <a:lnSpc>
                <a:spcPct val="130000"/>
              </a:lnSpc>
              <a:buNone/>
              <a:defRPr sz="1400" spc="40" baseline="0"/>
            </a:lvl2pPr>
            <a:lvl3pPr>
              <a:lnSpc>
                <a:spcPct val="130000"/>
              </a:lnSpc>
              <a:defRPr sz="1400" spc="40" baseline="0"/>
            </a:lvl3pPr>
            <a:lvl4pPr>
              <a:lnSpc>
                <a:spcPct val="130000"/>
              </a:lnSpc>
              <a:defRPr sz="1400" spc="40" baseline="0"/>
            </a:lvl4pPr>
            <a:lvl5pPr>
              <a:lnSpc>
                <a:spcPct val="130000"/>
              </a:lnSpc>
              <a:defRPr sz="1400" spc="40" baseline="0"/>
            </a:lvl5pPr>
            <a:lvl6pPr>
              <a:lnSpc>
                <a:spcPct val="130000"/>
              </a:lnSpc>
              <a:defRPr sz="1400" spc="40" baseline="0"/>
            </a:lvl6pPr>
          </a:lstStyle>
          <a:p>
            <a:pPr lvl="0"/>
            <a:r>
              <a:rPr lang="de-CH" noProof="0"/>
              <a:t>Textmasterformat bearbeiten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EFC918BB-DABB-42F8-B06F-81AD24E4E99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9661081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2358">
          <p15:clr>
            <a:srgbClr val="FBAE40"/>
          </p15:clr>
        </p15:guide>
        <p15:guide id="5" pos="7336">
          <p15:clr>
            <a:srgbClr val="FBAE40"/>
          </p15:clr>
        </p15:guide>
        <p15:guide id="6" orient="horz" pos="2450">
          <p15:clr>
            <a:srgbClr val="FBAE40"/>
          </p15:clr>
        </p15:guide>
        <p15:guide id="7" orient="horz" pos="1306">
          <p15:clr>
            <a:srgbClr val="FBAE40"/>
          </p15:clr>
        </p15:guide>
      </p15:sldGuideLst>
    </p:ext>
  </p:extLst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art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6" name="Inhaltsplatzhalter 3">
            <a:extLst>
              <a:ext uri="{FF2B5EF4-FFF2-40B4-BE49-F238E27FC236}">
                <a16:creationId xmlns:a16="http://schemas.microsoft.com/office/drawing/2014/main" id="{224C8ED8-2724-43D9-B629-670917E36DA8}"/>
              </a:ext>
            </a:extLst>
          </p:cNvPr>
          <p:cNvSpPr>
            <a:spLocks noGrp="1"/>
          </p:cNvSpPr>
          <p:nvPr>
            <p:ph sz="quarter" idx="15" hasCustomPrompt="1"/>
          </p:nvPr>
        </p:nvSpPr>
        <p:spPr>
          <a:xfrm>
            <a:off x="46575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5" name="Inhaltsplatzhalter 3">
            <a:extLst>
              <a:ext uri="{FF2B5EF4-FFF2-40B4-BE49-F238E27FC236}">
                <a16:creationId xmlns:a16="http://schemas.microsoft.com/office/drawing/2014/main" id="{1717B421-41C1-4A6B-90F7-CF61E0FDE942}"/>
              </a:ext>
            </a:extLst>
          </p:cNvPr>
          <p:cNvSpPr>
            <a:spLocks noGrp="1"/>
          </p:cNvSpPr>
          <p:nvPr>
            <p:ph sz="quarter" idx="14" hasCustomPrompt="1"/>
          </p:nvPr>
        </p:nvSpPr>
        <p:spPr>
          <a:xfrm>
            <a:off x="7827688" y="2238375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4" name="Inhaltsplatzhalter 3">
            <a:extLst>
              <a:ext uri="{FF2B5EF4-FFF2-40B4-BE49-F238E27FC236}">
                <a16:creationId xmlns:a16="http://schemas.microsoft.com/office/drawing/2014/main" id="{93580659-36ED-4234-B5A1-CD00BD4FE26A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1487488" y="2238375"/>
            <a:ext cx="2880000" cy="1260000"/>
          </a:xfrm>
        </p:spPr>
        <p:txBody>
          <a:bodyPr tIns="900000"/>
          <a:lstStyle>
            <a:lvl1pPr>
              <a:defRPr sz="1200">
                <a:solidFill>
                  <a:schemeClr val="tx2"/>
                </a:solidFill>
                <a:latin typeface="+mj-lt"/>
                <a:ea typeface="Segoe UI Symbol" panose="020B0502040204020203" pitchFamily="34" charset="0"/>
              </a:defRPr>
            </a:lvl1pPr>
          </a:lstStyle>
          <a:p>
            <a:pPr lvl="0"/>
            <a:r>
              <a:rPr lang="de-DE"/>
              <a:t>Logo einfügen  ↑</a:t>
            </a:r>
          </a:p>
          <a:p>
            <a:pPr lvl="0"/>
            <a:endParaRPr lang="de-DE"/>
          </a:p>
        </p:txBody>
      </p:sp>
      <p:sp>
        <p:nvSpPr>
          <p:cNvPr id="17" name="Inhaltsplatzhalter 3">
            <a:extLst>
              <a:ext uri="{FF2B5EF4-FFF2-40B4-BE49-F238E27FC236}">
                <a16:creationId xmlns:a16="http://schemas.microsoft.com/office/drawing/2014/main" id="{39A87105-EF9A-4156-88A6-10AB358E2DDC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6508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8" name="Inhaltsplatzhalter 3">
            <a:extLst>
              <a:ext uri="{FF2B5EF4-FFF2-40B4-BE49-F238E27FC236}">
                <a16:creationId xmlns:a16="http://schemas.microsoft.com/office/drawing/2014/main" id="{547DC7D8-C082-4D4E-B4D1-4F377A1F92DA}"/>
              </a:ext>
            </a:extLst>
          </p:cNvPr>
          <p:cNvSpPr>
            <a:spLocks noGrp="1"/>
          </p:cNvSpPr>
          <p:nvPr>
            <p:ph sz="quarter" idx="17" hasCustomPrompt="1"/>
          </p:nvPr>
        </p:nvSpPr>
        <p:spPr>
          <a:xfrm>
            <a:off x="78209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  <p:sp>
        <p:nvSpPr>
          <p:cNvPr id="19" name="Inhaltsplatzhalter 3">
            <a:extLst>
              <a:ext uri="{FF2B5EF4-FFF2-40B4-BE49-F238E27FC236}">
                <a16:creationId xmlns:a16="http://schemas.microsoft.com/office/drawing/2014/main" id="{866A87BE-453D-443B-A4F0-271A8A4826BB}"/>
              </a:ext>
            </a:extLst>
          </p:cNvPr>
          <p:cNvSpPr>
            <a:spLocks noGrp="1"/>
          </p:cNvSpPr>
          <p:nvPr>
            <p:ph sz="quarter" idx="18" hasCustomPrompt="1"/>
          </p:nvPr>
        </p:nvSpPr>
        <p:spPr>
          <a:xfrm>
            <a:off x="1480727" y="3972911"/>
            <a:ext cx="2880000" cy="1260000"/>
          </a:xfrm>
        </p:spPr>
        <p:txBody>
          <a:bodyPr tIns="864000"/>
          <a:lstStyle>
            <a:lvl1pPr>
              <a:defRPr sz="12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/>
              <a:t>Logo einfügen  ↑</a:t>
            </a:r>
          </a:p>
        </p:txBody>
      </p:sp>
    </p:spTree>
    <p:extLst>
      <p:ext uri="{BB962C8B-B14F-4D97-AF65-F5344CB8AC3E}">
        <p14:creationId xmlns:p14="http://schemas.microsoft.com/office/powerpoint/2010/main" val="390385014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719665" y="1509183"/>
            <a:ext cx="68640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7776000" y="1509184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80677793-ADFC-4517-B0B5-B82B75B2BC5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805409192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86D49F2-16E1-4A74-9E50-9FB6B6B9CAA4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9671455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10">
          <p15:clr>
            <a:srgbClr val="FBAE40"/>
          </p15:clr>
        </p15:guide>
        <p15:guide id="2" orient="horz" pos="4043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</p15:sldGuideLst>
    </p:ext>
  </p:extLst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umsplatzhalt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C9A677-42EB-4007-B205-C7501220950B}" type="datetimeyyyy">
              <a:rPr lang="de-CH" smtClean="0"/>
              <a:t>2025</a:t>
            </a:fld>
            <a:endParaRPr lang="de-CH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8057403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68">
          <p15:clr>
            <a:srgbClr val="FBAE40"/>
          </p15:clr>
        </p15:guide>
        <p15:guide id="2" orient="horz" pos="4040">
          <p15:clr>
            <a:srgbClr val="FBAE40"/>
          </p15:clr>
        </p15:guide>
        <p15:guide id="3" pos="7336">
          <p15:clr>
            <a:srgbClr val="FBAE40"/>
          </p15:clr>
        </p15:guide>
        <p15:guide id="4" pos="345">
          <p15:clr>
            <a:srgbClr val="FBAE40"/>
          </p15:clr>
        </p15:guide>
      </p15:sldGuideLst>
    </p:ext>
  </p:extLst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D697C572-0C30-42E1-8099-4434D27642AF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5802066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9E92CD1E-D16D-41A3-8E3B-BE988C7E3B11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808478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92300117-97DA-4BC5-B68D-05ED07097A6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3816658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chluss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9157058-9CCA-4EAA-8D6E-1E10DBF3C026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550862" y="2242616"/>
            <a:ext cx="11090276" cy="2162524"/>
          </a:xfrm>
        </p:spPr>
        <p:txBody>
          <a:bodyPr anchor="ctr"/>
          <a:lstStyle>
            <a:lvl1pPr algn="ctr">
              <a:lnSpc>
                <a:spcPct val="92000"/>
              </a:lnSpc>
              <a:defRPr sz="8400" spc="18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ext hinzufüg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01309523-3546-4A6B-BA61-7A6E63A78BA0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67857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47766571"/>
              </p:ext>
            </p:extLst>
          </p:nvPr>
        </p:nvGraphicFramePr>
        <p:xfrm>
          <a:off x="2119" y="1589"/>
          <a:ext cx="2116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270" imgH="270" progId="TCLayout.ActiveDocument.1">
                  <p:embed/>
                </p:oleObj>
              </mc:Choice>
              <mc:Fallback>
                <p:oleObj name="think-cell Folie" r:id="rId3" imgW="270" imgH="270" progId="TCLayout.ActiveDocument.1">
                  <p:embed/>
                  <p:pic>
                    <p:nvPicPr>
                      <p:cNvPr id="2" name="Objekt 1" hidden="1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9"/>
                        <a:ext cx="2116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840338636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72224667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SBB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12" name="Textplatzhalter 11">
            <a:extLst>
              <a:ext uri="{FF2B5EF4-FFF2-40B4-BE49-F238E27FC236}">
                <a16:creationId xmlns:a16="http://schemas.microsoft.com/office/drawing/2014/main" id="{FAFC59C7-5313-481E-9BD9-0BB395093D5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9906000" y="288130"/>
            <a:ext cx="1738313" cy="195263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04259631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weiss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41849308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u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de-DE"/>
              <a:t>Textfolie mit Bild. Titel maximal einzeilig.</a:t>
            </a:r>
            <a:endParaRPr lang="de-CH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r>
              <a:rPr lang="de-CH"/>
              <a:t>stat@sbb.ch 18.11.2020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7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22400" y="1509183"/>
            <a:ext cx="7137600" cy="5078400"/>
          </a:xfrm>
        </p:spPr>
        <p:txBody>
          <a:bodyPr/>
          <a:lstStyle>
            <a:lvl2pPr marL="723882" indent="-368291">
              <a:defRPr/>
            </a:lvl2pPr>
          </a:lstStyle>
          <a:p>
            <a:pPr lvl="0"/>
            <a:r>
              <a:rPr lang="de-DE" noProof="0"/>
              <a:t>Text durch Klicken hinzufüg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9" name="Bildplatzhalter 8"/>
          <p:cNvSpPr>
            <a:spLocks noGrp="1"/>
          </p:cNvSpPr>
          <p:nvPr>
            <p:ph type="pic" sz="quarter" idx="13" hasCustomPrompt="1"/>
          </p:nvPr>
        </p:nvSpPr>
        <p:spPr>
          <a:xfrm>
            <a:off x="0" y="1508786"/>
            <a:ext cx="4416000" cy="5088467"/>
          </a:xfrm>
        </p:spPr>
        <p:txBody>
          <a:bodyPr anchor="ctr" anchorCtr="1"/>
          <a:lstStyle>
            <a:lvl1pPr marL="0" indent="0" algn="ctr">
              <a:buNone/>
              <a:defRPr/>
            </a:lvl1pPr>
          </a:lstStyle>
          <a:p>
            <a:r>
              <a:rPr lang="de-CH"/>
              <a:t>Klicken Sie hier, um ein Bild einzufügen</a:t>
            </a:r>
          </a:p>
        </p:txBody>
      </p:sp>
      <p:pic>
        <p:nvPicPr>
          <p:cNvPr id="8" name="Logo_SBB_Symbol">
            <a:extLst>
              <a:ext uri="{FF2B5EF4-FFF2-40B4-BE49-F238E27FC236}">
                <a16:creationId xmlns:a16="http://schemas.microsoft.com/office/drawing/2014/main" id="{3CEA8AC4-6E4B-49CB-8DA7-6A86A278B630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869793" y="425021"/>
            <a:ext cx="942472" cy="3111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42592351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Titelfolie Cargo (Logo schwarz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Datumsplatzhalter 3">
            <a:extLst>
              <a:ext uri="{FF2B5EF4-FFF2-40B4-BE49-F238E27FC236}">
                <a16:creationId xmlns:a16="http://schemas.microsoft.com/office/drawing/2014/main" id="{9B600E21-DCB7-482A-B265-E2B851163D08}"/>
              </a:ext>
            </a:extLst>
          </p:cNvPr>
          <p:cNvSpPr>
            <a:spLocks noGrp="1"/>
          </p:cNvSpPr>
          <p:nvPr>
            <p:ph type="dt" sz="half" idx="16"/>
          </p:nvPr>
        </p:nvSpPr>
        <p:spPr/>
        <p:txBody>
          <a:bodyPr/>
          <a:lstStyle/>
          <a:p>
            <a:fld id="{3E8E767B-80F6-40CC-A2EC-0F5A4A89F876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>
            <a:extLst>
              <a:ext uri="{FF2B5EF4-FFF2-40B4-BE49-F238E27FC236}">
                <a16:creationId xmlns:a16="http://schemas.microsoft.com/office/drawing/2014/main" id="{E041B66B-0CD2-4798-BA16-91DAC3432E99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>
            <a:extLst>
              <a:ext uri="{FF2B5EF4-FFF2-40B4-BE49-F238E27FC236}">
                <a16:creationId xmlns:a16="http://schemas.microsoft.com/office/drawing/2014/main" id="{A8D59E56-8CC7-4D08-89A7-C238427A2EB7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5" name="Bildplatzhalter 4">
            <a:extLst>
              <a:ext uri="{FF2B5EF4-FFF2-40B4-BE49-F238E27FC236}">
                <a16:creationId xmlns:a16="http://schemas.microsoft.com/office/drawing/2014/main" id="{676FF195-5B20-43EC-B059-82D8918A228E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3373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lIns="1620000" tIns="720000" anchor="ctr"/>
          <a:lstStyle>
            <a:lvl1pPr algn="ctr">
              <a:defRPr sz="1200"/>
            </a:lvl1pPr>
          </a:lstStyle>
          <a:p>
            <a:r>
              <a:rPr lang="de-CH"/>
              <a:t>Bild durch Klicken auf Symbol hinzufüg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0" name="Textplatzhalter 11">
            <a:extLst>
              <a:ext uri="{FF2B5EF4-FFF2-40B4-BE49-F238E27FC236}">
                <a16:creationId xmlns:a16="http://schemas.microsoft.com/office/drawing/2014/main" id="{E35F8307-C189-48EF-B394-613EAF9BB80B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9366125" y="292895"/>
            <a:ext cx="2281561" cy="194344"/>
          </a:xfrm>
          <a:blipFill>
            <a:blip r:embed="rId2"/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3939FF6E-BA9B-454B-8C92-87A73C60C46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 rot="5400000">
            <a:off x="-206909" y="814286"/>
            <a:ext cx="5646589" cy="5232770"/>
          </a:xfrm>
          <a:prstGeom prst="trapezoid">
            <a:avLst>
              <a:gd name="adj" fmla="val 19131"/>
            </a:avLst>
          </a:prstGeom>
          <a:solidFill>
            <a:schemeClr val="accent3">
              <a:alpha val="80000"/>
            </a:schemeClr>
          </a:solidFill>
        </p:spPr>
        <p:txBody>
          <a:bodyPr vert="vert270" lIns="0" tIns="0" bIns="612000" anchor="ctr"/>
          <a:lstStyle>
            <a:lvl1pPr>
              <a:defRPr sz="100">
                <a:noFill/>
              </a:defRPr>
            </a:lvl1pPr>
            <a:lvl2pPr>
              <a:defRPr sz="100">
                <a:solidFill>
                  <a:schemeClr val="bg1"/>
                </a:solidFill>
              </a:defRPr>
            </a:lvl2pPr>
            <a:lvl3pPr>
              <a:defRPr sz="100">
                <a:solidFill>
                  <a:schemeClr val="bg1"/>
                </a:solidFill>
              </a:defRPr>
            </a:lvl3pPr>
            <a:lvl4pPr>
              <a:defRPr sz="100">
                <a:solidFill>
                  <a:schemeClr val="bg1"/>
                </a:solidFill>
              </a:defRPr>
            </a:lvl4pPr>
            <a:lvl5pPr>
              <a:defRPr sz="1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3" name="Untertitel 2"/>
          <p:cNvSpPr>
            <a:spLocks noGrp="1"/>
          </p:cNvSpPr>
          <p:nvPr>
            <p:ph type="subTitle" idx="1" hasCustomPrompt="1"/>
          </p:nvPr>
        </p:nvSpPr>
        <p:spPr>
          <a:xfrm>
            <a:off x="547341" y="4005064"/>
            <a:ext cx="4108499" cy="493517"/>
          </a:xfrm>
        </p:spPr>
        <p:txBody>
          <a:bodyPr/>
          <a:lstStyle>
            <a:lvl1pPr marL="0" indent="0" algn="l">
              <a:lnSpc>
                <a:spcPct val="114000"/>
              </a:lnSpc>
              <a:buNone/>
              <a:defRPr sz="1400" spc="40" baseline="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CH" noProof="0"/>
              <a:t>Vorname Name</a:t>
            </a:r>
            <a:br>
              <a:rPr lang="de-CH" noProof="0"/>
            </a:br>
            <a:r>
              <a:rPr lang="de-CH" noProof="0"/>
              <a:t>Ort, Datum</a:t>
            </a:r>
            <a:endParaRPr lang="de-CH"/>
          </a:p>
        </p:txBody>
      </p:sp>
      <p:sp>
        <p:nvSpPr>
          <p:cNvPr id="2" name="Titel 1"/>
          <p:cNvSpPr>
            <a:spLocks noGrp="1"/>
          </p:cNvSpPr>
          <p:nvPr>
            <p:ph type="ctrTitle" hasCustomPrompt="1"/>
          </p:nvPr>
        </p:nvSpPr>
        <p:spPr>
          <a:xfrm>
            <a:off x="547341" y="2238375"/>
            <a:ext cx="4108499" cy="1635738"/>
          </a:xfrm>
        </p:spPr>
        <p:txBody>
          <a:bodyPr anchor="b"/>
          <a:lstStyle>
            <a:lvl1pPr algn="l">
              <a:lnSpc>
                <a:spcPct val="92000"/>
              </a:lnSpc>
              <a:defRPr sz="5600" spc="100" baseline="0">
                <a:solidFill>
                  <a:schemeClr val="bg1"/>
                </a:solidFill>
              </a:defRPr>
            </a:lvl1pPr>
          </a:lstStyle>
          <a:p>
            <a:r>
              <a:rPr lang="de-CH"/>
              <a:t>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3051576800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C3BF9167-FA0E-41AA-AD3E-DD73E73C0289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295211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</p15:sldGuideLst>
    </p:ext>
  </p:extLst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ischentitel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BE51F75-5448-4F8E-A0A6-8542A1C2DF3D}" type="datetimeyyyy">
              <a:rPr lang="de-CH" smtClean="0"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9" name="Titel 1">
            <a:extLst>
              <a:ext uri="{FF2B5EF4-FFF2-40B4-BE49-F238E27FC236}">
                <a16:creationId xmlns:a16="http://schemas.microsoft.com/office/drawing/2014/main" id="{A1C0D8B2-21FB-408E-8F45-4FF07F7C923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79550" y="1700808"/>
            <a:ext cx="9228138" cy="2258756"/>
          </a:xfrm>
        </p:spPr>
        <p:txBody>
          <a:bodyPr anchor="b"/>
          <a:lstStyle>
            <a:lvl1pPr algn="l">
              <a:lnSpc>
                <a:spcPct val="92000"/>
              </a:lnSpc>
              <a:defRPr sz="8400" spc="180" baseline="0"/>
            </a:lvl1pPr>
          </a:lstStyle>
          <a:p>
            <a:r>
              <a:rPr lang="de-CH"/>
              <a:t>Zwischentitel hinzufügen.</a:t>
            </a:r>
          </a:p>
        </p:txBody>
      </p:sp>
      <p:sp>
        <p:nvSpPr>
          <p:cNvPr id="10" name="Textplatzhalter 3">
            <a:extLst>
              <a:ext uri="{FF2B5EF4-FFF2-40B4-BE49-F238E27FC236}">
                <a16:creationId xmlns:a16="http://schemas.microsoft.com/office/drawing/2014/main" id="{97D0A394-EC1C-44E9-9B81-C9A02683B8E8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1479550" y="4388988"/>
            <a:ext cx="9228138" cy="754313"/>
          </a:xfrm>
        </p:spPr>
        <p:txBody>
          <a:bodyPr/>
          <a:lstStyle>
            <a:lvl1pPr>
              <a:lnSpc>
                <a:spcPct val="92000"/>
              </a:lnSpc>
              <a:defRPr sz="2400" spc="180" baseline="0">
                <a:solidFill>
                  <a:schemeClr val="accent3"/>
                </a:solidFill>
              </a:defRPr>
            </a:lvl1pPr>
            <a:lvl2pPr>
              <a:defRPr sz="2400">
                <a:solidFill>
                  <a:schemeClr val="accent3"/>
                </a:solidFill>
              </a:defRPr>
            </a:lvl2pPr>
            <a:lvl3pPr>
              <a:defRPr sz="2400">
                <a:solidFill>
                  <a:schemeClr val="accent3"/>
                </a:solidFill>
              </a:defRPr>
            </a:lvl3pPr>
            <a:lvl4pPr>
              <a:defRPr sz="2400">
                <a:solidFill>
                  <a:schemeClr val="accent3"/>
                </a:solidFill>
              </a:defRPr>
            </a:lvl4pPr>
            <a:lvl5pPr>
              <a:defRPr sz="2400">
                <a:solidFill>
                  <a:schemeClr val="accent3"/>
                </a:solidFill>
              </a:defRPr>
            </a:lvl5pPr>
          </a:lstStyle>
          <a:p>
            <a:pPr lvl="0"/>
            <a:r>
              <a:rPr lang="de-DE"/>
              <a:t>Untertitel hinzufügen.</a:t>
            </a:r>
          </a:p>
        </p:txBody>
      </p:sp>
    </p:spTree>
    <p:extLst>
      <p:ext uri="{BB962C8B-B14F-4D97-AF65-F5344CB8AC3E}">
        <p14:creationId xmlns:p14="http://schemas.microsoft.com/office/powerpoint/2010/main" val="20915873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6745">
          <p15:clr>
            <a:srgbClr val="FBAE40"/>
          </p15:clr>
        </p15:guide>
        <p15:guide id="2" pos="932">
          <p15:clr>
            <a:srgbClr val="FBAE40"/>
          </p15:clr>
        </p15:guide>
        <p15:guide id="3" orient="horz" pos="1136">
          <p15:clr>
            <a:srgbClr val="FBAE40"/>
          </p15:clr>
        </p15:guide>
      </p15:sldGuideLst>
    </p:ext>
  </p:extLst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ita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Bildplatzhalter 4">
            <a:extLst>
              <a:ext uri="{FF2B5EF4-FFF2-40B4-BE49-F238E27FC236}">
                <a16:creationId xmlns:a16="http://schemas.microsoft.com/office/drawing/2014/main" id="{48112DF6-4098-4F29-A03A-A435585B411F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EA1A02B1-1978-4A3B-80F7-766D1FB44F8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  <p:sp>
        <p:nvSpPr>
          <p:cNvPr id="16" name="Textplatzhalter 15">
            <a:extLst>
              <a:ext uri="{FF2B5EF4-FFF2-40B4-BE49-F238E27FC236}">
                <a16:creationId xmlns:a16="http://schemas.microsoft.com/office/drawing/2014/main" id="{D8CF4041-AA59-42D9-BE67-DE9BDA6E921D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4367808" y="1736725"/>
            <a:ext cx="7279680" cy="3348038"/>
          </a:xfrm>
        </p:spPr>
        <p:txBody>
          <a:bodyPr anchor="ctr"/>
          <a:lstStyle>
            <a:lvl1pPr>
              <a:defRPr sz="3200">
                <a:solidFill>
                  <a:schemeClr val="bg1"/>
                </a:solidFill>
              </a:defRPr>
            </a:lvl1pPr>
            <a:lvl2pPr>
              <a:spcBef>
                <a:spcPts val="1800"/>
              </a:spcBef>
              <a:buFontTx/>
              <a:buNone/>
              <a:defRPr sz="1600">
                <a:solidFill>
                  <a:schemeClr val="bg1"/>
                </a:solidFill>
              </a:defRPr>
            </a:lvl2pPr>
          </a:lstStyle>
          <a:p>
            <a:pPr lvl="0"/>
            <a:r>
              <a:rPr lang="de-CH" noProof="0"/>
              <a:t>«Zitat hinzufügen»</a:t>
            </a:r>
          </a:p>
          <a:p>
            <a:pPr lvl="1"/>
            <a:r>
              <a:rPr lang="de-CH" noProof="0"/>
              <a:t>Zweite Ebene</a:t>
            </a:r>
          </a:p>
        </p:txBody>
      </p:sp>
      <p:sp>
        <p:nvSpPr>
          <p:cNvPr id="6" name="Datumsplatzhalter 5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19157058-9CCA-4EAA-8D6E-1E10DBF3C026}" type="datetimeyyyy">
              <a:rPr lang="de-CH" smtClean="0"/>
              <a:pPr/>
              <a:t>2025</a:t>
            </a:fld>
            <a:endParaRPr lang="de-CH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8" name="Foliennummernplatzhalter 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41879982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45">
          <p15:clr>
            <a:srgbClr val="FBAE40"/>
          </p15:clr>
        </p15:guide>
        <p15:guide id="2" pos="7336">
          <p15:clr>
            <a:srgbClr val="FBAE40"/>
          </p15:clr>
        </p15:guide>
      </p15:sldGuideLst>
    </p:ext>
  </p:extLst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>
            <a:lvl1pPr marL="514800" indent="-514800"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tabLst>
                <a:tab pos="2779713" algn="l"/>
              </a:tabLst>
              <a:defRPr/>
            </a:lvl1pPr>
            <a:lvl2pPr marL="863600" indent="-358775">
              <a:spcAft>
                <a:spcPts val="0"/>
              </a:spcAft>
              <a:defRPr/>
            </a:lvl2pPr>
            <a:lvl3pPr marL="1224000">
              <a:spcAft>
                <a:spcPts val="0"/>
              </a:spcAft>
              <a:defRPr/>
            </a:lvl3pPr>
            <a:lvl4pPr marL="1584000">
              <a:spcAft>
                <a:spcPts val="0"/>
              </a:spcAft>
              <a:defRPr/>
            </a:lvl4pPr>
            <a:lvl5pPr marL="1944000">
              <a:spcAft>
                <a:spcPts val="0"/>
              </a:spcAft>
              <a:defRPr/>
            </a:lvl5pPr>
            <a:lvl6pPr marL="864000" indent="-358775">
              <a:spcAft>
                <a:spcPts val="0"/>
              </a:spcAft>
              <a:defRPr/>
            </a:lvl6pPr>
          </a:lstStyle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8EA05E9B-3600-457E-9428-1EB1B6893A70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1704787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mit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Bildplatzhalter 4">
            <a:extLst>
              <a:ext uri="{FF2B5EF4-FFF2-40B4-BE49-F238E27FC236}">
                <a16:creationId xmlns:a16="http://schemas.microsoft.com/office/drawing/2014/main" id="{EA3DBB68-0F3E-4EF1-88C2-B9639789CB57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0" y="0"/>
            <a:ext cx="12192000" cy="6858000"/>
          </a:xfrm>
          <a:pattFill prst="lgCheck">
            <a:fgClr>
              <a:schemeClr val="bg1">
                <a:lumMod val="85000"/>
              </a:schemeClr>
            </a:fgClr>
            <a:bgClr>
              <a:schemeClr val="bg1"/>
            </a:bgClr>
          </a:pattFill>
        </p:spPr>
        <p:txBody>
          <a:bodyPr tIns="2880000" anchor="ctr"/>
          <a:lstStyle>
            <a:lvl1pPr algn="ctr">
              <a:defRPr sz="1200"/>
            </a:lvl1pPr>
          </a:lstStyle>
          <a:p>
            <a:r>
              <a:rPr lang="de-CH"/>
              <a:t>Bild durch «</a:t>
            </a:r>
            <a:r>
              <a:rPr lang="de-CH" err="1"/>
              <a:t>drag</a:t>
            </a:r>
            <a:r>
              <a:rPr lang="de-CH"/>
              <a:t> and </a:t>
            </a:r>
            <a:r>
              <a:rPr lang="de-CH" err="1"/>
              <a:t>drop</a:t>
            </a:r>
            <a:r>
              <a:rPr lang="de-CH"/>
              <a:t>» in den Platzhalter ziehen.</a:t>
            </a:r>
            <a:br>
              <a:rPr lang="de-CH"/>
            </a:br>
            <a:r>
              <a:rPr lang="de-CH"/>
              <a:t>Bild gegebenenfalls in den Hintergrund stellen.</a:t>
            </a:r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EE4D02E2-A28A-4103-A912-AEBEEDFF1EC7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1484312" y="1949450"/>
            <a:ext cx="9223376" cy="4467225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2D8A3E21-9730-4EEA-9E2B-14BFA2EF24A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  <p:sp>
        <p:nvSpPr>
          <p:cNvPr id="11" name="Textplatzhalter 11">
            <a:extLst>
              <a:ext uri="{FF2B5EF4-FFF2-40B4-BE49-F238E27FC236}">
                <a16:creationId xmlns:a16="http://schemas.microsoft.com/office/drawing/2014/main" id="{00B82B8F-16BF-4FCA-AE87-5EEA8E91DFA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11087087" y="288131"/>
            <a:ext cx="561194" cy="197644"/>
          </a:xfrm>
          <a:blipFill>
            <a:blip r:embed="rId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defRPr sz="100">
                <a:noFill/>
              </a:defRPr>
            </a:lvl1pPr>
            <a:lvl2pPr>
              <a:defRPr sz="100">
                <a:noFill/>
              </a:defRPr>
            </a:lvl2pPr>
            <a:lvl3pPr>
              <a:defRPr sz="100">
                <a:noFill/>
              </a:defRPr>
            </a:lvl3pPr>
            <a:lvl4pPr>
              <a:defRPr sz="100">
                <a:noFill/>
              </a:defRPr>
            </a:lvl4pPr>
            <a:lvl5pPr>
              <a:defRPr sz="100">
                <a:noFill/>
              </a:defRPr>
            </a:lvl5pPr>
          </a:lstStyle>
          <a:p>
            <a:pPr lvl="0"/>
            <a:r>
              <a:rPr lang="de-DE"/>
              <a:t> 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2516135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1228">
          <p15:clr>
            <a:srgbClr val="FBAE40"/>
          </p15:clr>
        </p15:guide>
        <p15:guide id="4" orient="horz" pos="4043">
          <p15:clr>
            <a:srgbClr val="FBAE40"/>
          </p15:clr>
        </p15:guide>
      </p15:sldGuideLst>
    </p:ext>
  </p:extLst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A194875-4DA7-4B89-B587-B27F5F6125B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</p:txBody>
      </p:sp>
    </p:spTree>
    <p:extLst>
      <p:ext uri="{BB962C8B-B14F-4D97-AF65-F5344CB8AC3E}">
        <p14:creationId xmlns:p14="http://schemas.microsoft.com/office/powerpoint/2010/main" val="36897720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932">
          <p15:clr>
            <a:srgbClr val="FBAE40"/>
          </p15:clr>
        </p15:guide>
        <p15:guide id="2" pos="6745">
          <p15:clr>
            <a:srgbClr val="FBAE40"/>
          </p15:clr>
        </p15:guide>
        <p15:guide id="3" orient="horz" pos="4043">
          <p15:clr>
            <a:srgbClr val="FBAE40"/>
          </p15:clr>
        </p15:guide>
        <p15:guide id="4" orient="horz" pos="1228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 und Inhalt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de-CH"/>
              <a:t>Titel hinzufügen.</a:t>
            </a:r>
          </a:p>
        </p:txBody>
      </p:sp>
      <p:sp>
        <p:nvSpPr>
          <p:cNvPr id="7" name="Datumsplatzhalt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FABE6C4-0C31-4575-9A59-D685A98A87F9}" type="datetimeyyyy">
              <a:rPr lang="de-CH" smtClean="0"/>
              <a:t>2025</a:t>
            </a:fld>
            <a:endParaRPr lang="de-CH"/>
          </a:p>
        </p:txBody>
      </p:sp>
      <p:sp>
        <p:nvSpPr>
          <p:cNvPr id="8" name="Fußzeilenplatzhalt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9" name="Foliennummernplatzhalt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0" name="Textplatzhalter 2">
            <a:extLst>
              <a:ext uri="{FF2B5EF4-FFF2-40B4-BE49-F238E27FC236}">
                <a16:creationId xmlns:a16="http://schemas.microsoft.com/office/drawing/2014/main" id="{5578AA81-C437-4627-B968-9592A9319D11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1487488" y="1949450"/>
            <a:ext cx="9220200" cy="4467882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 noProof="0"/>
              <a:t>Mastertextformat bearbeiten</a:t>
            </a:r>
          </a:p>
          <a:p>
            <a:pPr lvl="1"/>
            <a:r>
              <a:rPr lang="de-DE" noProof="0"/>
              <a:t>Zweite Ebene</a:t>
            </a:r>
          </a:p>
          <a:p>
            <a:pPr lvl="2"/>
            <a:r>
              <a:rPr lang="de-DE" noProof="0"/>
              <a:t>Dritte Ebene</a:t>
            </a:r>
          </a:p>
          <a:p>
            <a:pPr lvl="3"/>
            <a:r>
              <a:rPr lang="de-DE" noProof="0"/>
              <a:t>Vierte Ebene</a:t>
            </a:r>
          </a:p>
          <a:p>
            <a:pPr lvl="4"/>
            <a:r>
              <a:rPr lang="de-DE" noProof="0"/>
              <a:t>Fünfte Ebene</a:t>
            </a:r>
            <a:endParaRPr lang="de-CH" noProof="0"/>
          </a:p>
        </p:txBody>
      </p:sp>
    </p:spTree>
    <p:extLst>
      <p:ext uri="{BB962C8B-B14F-4D97-AF65-F5344CB8AC3E}">
        <p14:creationId xmlns:p14="http://schemas.microsoft.com/office/powerpoint/2010/main" val="40644820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4043">
          <p15:clr>
            <a:srgbClr val="FBAE40"/>
          </p15:clr>
        </p15:guide>
        <p15:guide id="2" orient="horz" pos="1228">
          <p15:clr>
            <a:srgbClr val="FBAE40"/>
          </p15:clr>
        </p15:guide>
        <p15:guide id="3" pos="932">
          <p15:clr>
            <a:srgbClr val="FBAE40"/>
          </p15:clr>
        </p15:guide>
        <p15:guide id="4" pos="6745">
          <p15:clr>
            <a:srgbClr val="FBAE40"/>
          </p15:clr>
        </p15:guide>
        <p15:guide id="5" pos="7336">
          <p15:clr>
            <a:srgbClr val="FBAE40"/>
          </p15:clr>
        </p15:guide>
        <p15:guide id="6" pos="345">
          <p15:clr>
            <a:srgbClr val="FBAE40"/>
          </p15:clr>
        </p15:guide>
      </p15:sldGuideLst>
    </p:ext>
  </p:extLst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3B4E90F-33B6-4714-8C8A-C32FF307265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04163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41484952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6616">
          <p15:clr>
            <a:srgbClr val="FBAE40"/>
          </p15:clr>
        </p15:guide>
      </p15:sldGuideLst>
    </p:ext>
  </p:extLst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Zwei Inhalte grau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Inhaltsplatzhalter 3">
            <a:extLst>
              <a:ext uri="{FF2B5EF4-FFF2-40B4-BE49-F238E27FC236}">
                <a16:creationId xmlns:a16="http://schemas.microsoft.com/office/drawing/2014/main" id="{5A4905AD-A233-4987-BCB0-879019B59386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172063" y="1949450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6000" indent="-2160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8" name="Datumsplatzhalt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8AA4088-738D-4F0C-8C90-184A5F788505}" type="datetimeyyyy">
              <a:rPr lang="de-CH" smtClean="0"/>
              <a:t>2025</a:t>
            </a:fld>
            <a:endParaRPr lang="de-CH"/>
          </a:p>
        </p:txBody>
      </p:sp>
      <p:sp>
        <p:nvSpPr>
          <p:cNvPr id="9" name="Fußzeilenplatzhalt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11" name="Inhaltsplatzhalter 3">
            <a:extLst>
              <a:ext uri="{FF2B5EF4-FFF2-40B4-BE49-F238E27FC236}">
                <a16:creationId xmlns:a16="http://schemas.microsoft.com/office/drawing/2014/main" id="{1F11053E-81B7-4186-9FFA-9CB036BA3835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1491345" y="1949738"/>
            <a:ext cx="4319588" cy="4468525"/>
          </a:xfrm>
        </p:spPr>
        <p:txBody>
          <a:bodyPr/>
          <a:lstStyle>
            <a:lvl1pPr>
              <a:lnSpc>
                <a:spcPct val="120000"/>
              </a:lnSpc>
              <a:defRPr sz="1400"/>
            </a:lvl1pPr>
            <a:lvl2pPr marL="215900" indent="-215900">
              <a:lnSpc>
                <a:spcPct val="120000"/>
              </a:lnSpc>
              <a:defRPr sz="1400"/>
            </a:lvl2pPr>
            <a:lvl3pPr marL="432000" indent="-216000">
              <a:lnSpc>
                <a:spcPct val="120000"/>
              </a:lnSpc>
              <a:defRPr sz="1400"/>
            </a:lvl3pPr>
            <a:lvl4pPr marL="648000" indent="-216000">
              <a:lnSpc>
                <a:spcPct val="120000"/>
              </a:lnSpc>
              <a:defRPr sz="1400"/>
            </a:lvl4pPr>
            <a:lvl5pPr marL="864000" indent="-216000">
              <a:lnSpc>
                <a:spcPct val="120000"/>
              </a:lnSpc>
              <a:defRPr sz="1400"/>
            </a:lvl5pPr>
            <a:lvl6pPr marL="216000" indent="-216000">
              <a:defRPr sz="1400"/>
            </a:lvl6pPr>
          </a:lstStyle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F7D985BB-18B6-4513-922A-3940D912785F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487488" y="493295"/>
            <a:ext cx="9015412" cy="848226"/>
          </a:xfrm>
        </p:spPr>
        <p:txBody>
          <a:bodyPr/>
          <a:lstStyle>
            <a:lvl1pPr>
              <a:defRPr/>
            </a:lvl1pPr>
          </a:lstStyle>
          <a:p>
            <a:r>
              <a:rPr lang="de-DE"/>
              <a:t>Titel hinzufügen.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152372186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880">
          <p15:clr>
            <a:srgbClr val="FBAE40"/>
          </p15:clr>
        </p15:guide>
        <p15:guide id="2" pos="3664">
          <p15:clr>
            <a:srgbClr val="FBAE40"/>
          </p15:clr>
        </p15:guide>
        <p15:guide id="3" pos="6616">
          <p15:clr>
            <a:srgbClr val="FBAE40"/>
          </p15:clr>
        </p15:guide>
        <p15:guide id="4" pos="932">
          <p15:clr>
            <a:srgbClr val="FBAE40"/>
          </p15:clr>
        </p15:guide>
        <p15:guide id="5" orient="horz" pos="1228">
          <p15:clr>
            <a:srgbClr val="FBAE40"/>
          </p15:clr>
        </p15:guide>
        <p15:guide id="6" orient="horz" pos="4043">
          <p15:clr>
            <a:srgbClr val="FBAE40"/>
          </p15:clr>
        </p15:guide>
        <p15:guide id="7" pos="7336">
          <p15:clr>
            <a:srgbClr val="FBAE40"/>
          </p15:clr>
        </p15:guide>
        <p15:guide id="8" pos="3210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oleObject" Target="../embeddings/oleObject1.bin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tags" Target="../tags/tag1.xml"/><Relationship Id="rId2" Type="http://schemas.openxmlformats.org/officeDocument/2006/relationships/slideLayout" Target="../slideLayouts/slideLayout2.xml"/><Relationship Id="rId16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10" Type="http://schemas.openxmlformats.org/officeDocument/2006/relationships/slideLayout" Target="../slideLayouts/slideLayout10.xml"/><Relationship Id="rId19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3.xml"/><Relationship Id="rId13" Type="http://schemas.openxmlformats.org/officeDocument/2006/relationships/slideLayout" Target="../slideLayouts/slideLayout28.xml"/><Relationship Id="rId18" Type="http://schemas.openxmlformats.org/officeDocument/2006/relationships/slideLayout" Target="../slideLayouts/slideLayout33.xml"/><Relationship Id="rId26" Type="http://schemas.openxmlformats.org/officeDocument/2006/relationships/slideLayout" Target="../slideLayouts/slideLayout41.xml"/><Relationship Id="rId3" Type="http://schemas.openxmlformats.org/officeDocument/2006/relationships/slideLayout" Target="../slideLayouts/slideLayout18.xml"/><Relationship Id="rId21" Type="http://schemas.openxmlformats.org/officeDocument/2006/relationships/slideLayout" Target="../slideLayouts/slideLayout36.xml"/><Relationship Id="rId34" Type="http://schemas.openxmlformats.org/officeDocument/2006/relationships/slideLayout" Target="../slideLayouts/slideLayout49.xml"/><Relationship Id="rId7" Type="http://schemas.openxmlformats.org/officeDocument/2006/relationships/slideLayout" Target="../slideLayouts/slideLayout22.xml"/><Relationship Id="rId12" Type="http://schemas.openxmlformats.org/officeDocument/2006/relationships/slideLayout" Target="../slideLayouts/slideLayout27.xml"/><Relationship Id="rId17" Type="http://schemas.openxmlformats.org/officeDocument/2006/relationships/slideLayout" Target="../slideLayouts/slideLayout32.xml"/><Relationship Id="rId25" Type="http://schemas.openxmlformats.org/officeDocument/2006/relationships/slideLayout" Target="../slideLayouts/slideLayout40.xml"/><Relationship Id="rId33" Type="http://schemas.openxmlformats.org/officeDocument/2006/relationships/slideLayout" Target="../slideLayouts/slideLayout48.xml"/><Relationship Id="rId38" Type="http://schemas.openxmlformats.org/officeDocument/2006/relationships/image" Target="../media/image10.emf"/><Relationship Id="rId2" Type="http://schemas.openxmlformats.org/officeDocument/2006/relationships/slideLayout" Target="../slideLayouts/slideLayout17.xml"/><Relationship Id="rId16" Type="http://schemas.openxmlformats.org/officeDocument/2006/relationships/slideLayout" Target="../slideLayouts/slideLayout31.xml"/><Relationship Id="rId20" Type="http://schemas.openxmlformats.org/officeDocument/2006/relationships/slideLayout" Target="../slideLayouts/slideLayout35.xml"/><Relationship Id="rId29" Type="http://schemas.openxmlformats.org/officeDocument/2006/relationships/slideLayout" Target="../slideLayouts/slideLayout44.xml"/><Relationship Id="rId1" Type="http://schemas.openxmlformats.org/officeDocument/2006/relationships/slideLayout" Target="../slideLayouts/slideLayout16.xml"/><Relationship Id="rId6" Type="http://schemas.openxmlformats.org/officeDocument/2006/relationships/slideLayout" Target="../slideLayouts/slideLayout21.xml"/><Relationship Id="rId11" Type="http://schemas.openxmlformats.org/officeDocument/2006/relationships/slideLayout" Target="../slideLayouts/slideLayout26.xml"/><Relationship Id="rId24" Type="http://schemas.openxmlformats.org/officeDocument/2006/relationships/slideLayout" Target="../slideLayouts/slideLayout39.xml"/><Relationship Id="rId32" Type="http://schemas.openxmlformats.org/officeDocument/2006/relationships/slideLayout" Target="../slideLayouts/slideLayout47.xml"/><Relationship Id="rId37" Type="http://schemas.openxmlformats.org/officeDocument/2006/relationships/image" Target="../media/image9.emf"/><Relationship Id="rId5" Type="http://schemas.openxmlformats.org/officeDocument/2006/relationships/slideLayout" Target="../slideLayouts/slideLayout20.xml"/><Relationship Id="rId15" Type="http://schemas.openxmlformats.org/officeDocument/2006/relationships/slideLayout" Target="../slideLayouts/slideLayout30.xml"/><Relationship Id="rId23" Type="http://schemas.openxmlformats.org/officeDocument/2006/relationships/slideLayout" Target="../slideLayouts/slideLayout38.xml"/><Relationship Id="rId28" Type="http://schemas.openxmlformats.org/officeDocument/2006/relationships/slideLayout" Target="../slideLayouts/slideLayout43.xml"/><Relationship Id="rId36" Type="http://schemas.openxmlformats.org/officeDocument/2006/relationships/theme" Target="../theme/theme2.xml"/><Relationship Id="rId10" Type="http://schemas.openxmlformats.org/officeDocument/2006/relationships/slideLayout" Target="../slideLayouts/slideLayout25.xml"/><Relationship Id="rId19" Type="http://schemas.openxmlformats.org/officeDocument/2006/relationships/slideLayout" Target="../slideLayouts/slideLayout34.xml"/><Relationship Id="rId31" Type="http://schemas.openxmlformats.org/officeDocument/2006/relationships/slideLayout" Target="../slideLayouts/slideLayout46.xml"/><Relationship Id="rId4" Type="http://schemas.openxmlformats.org/officeDocument/2006/relationships/slideLayout" Target="../slideLayouts/slideLayout19.xml"/><Relationship Id="rId9" Type="http://schemas.openxmlformats.org/officeDocument/2006/relationships/slideLayout" Target="../slideLayouts/slideLayout24.xml"/><Relationship Id="rId14" Type="http://schemas.openxmlformats.org/officeDocument/2006/relationships/slideLayout" Target="../slideLayouts/slideLayout29.xml"/><Relationship Id="rId22" Type="http://schemas.openxmlformats.org/officeDocument/2006/relationships/slideLayout" Target="../slideLayouts/slideLayout37.xml"/><Relationship Id="rId27" Type="http://schemas.openxmlformats.org/officeDocument/2006/relationships/slideLayout" Target="../slideLayouts/slideLayout42.xml"/><Relationship Id="rId30" Type="http://schemas.openxmlformats.org/officeDocument/2006/relationships/slideLayout" Target="../slideLayouts/slideLayout45.xml"/><Relationship Id="rId35" Type="http://schemas.openxmlformats.org/officeDocument/2006/relationships/slideLayout" Target="../slideLayouts/slideLayout5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58.xml"/><Relationship Id="rId13" Type="http://schemas.openxmlformats.org/officeDocument/2006/relationships/slideLayout" Target="../slideLayouts/slideLayout63.xml"/><Relationship Id="rId18" Type="http://schemas.openxmlformats.org/officeDocument/2006/relationships/slideLayout" Target="../slideLayouts/slideLayout68.xml"/><Relationship Id="rId26" Type="http://schemas.openxmlformats.org/officeDocument/2006/relationships/slideLayout" Target="../slideLayouts/slideLayout76.xml"/><Relationship Id="rId39" Type="http://schemas.openxmlformats.org/officeDocument/2006/relationships/image" Target="../media/image10.emf"/><Relationship Id="rId3" Type="http://schemas.openxmlformats.org/officeDocument/2006/relationships/slideLayout" Target="../slideLayouts/slideLayout53.xml"/><Relationship Id="rId21" Type="http://schemas.openxmlformats.org/officeDocument/2006/relationships/slideLayout" Target="../slideLayouts/slideLayout71.xml"/><Relationship Id="rId34" Type="http://schemas.openxmlformats.org/officeDocument/2006/relationships/slideLayout" Target="../slideLayouts/slideLayout84.xml"/><Relationship Id="rId7" Type="http://schemas.openxmlformats.org/officeDocument/2006/relationships/slideLayout" Target="../slideLayouts/slideLayout57.xml"/><Relationship Id="rId12" Type="http://schemas.openxmlformats.org/officeDocument/2006/relationships/slideLayout" Target="../slideLayouts/slideLayout62.xml"/><Relationship Id="rId17" Type="http://schemas.openxmlformats.org/officeDocument/2006/relationships/slideLayout" Target="../slideLayouts/slideLayout67.xml"/><Relationship Id="rId25" Type="http://schemas.openxmlformats.org/officeDocument/2006/relationships/slideLayout" Target="../slideLayouts/slideLayout75.xml"/><Relationship Id="rId33" Type="http://schemas.openxmlformats.org/officeDocument/2006/relationships/slideLayout" Target="../slideLayouts/slideLayout83.xml"/><Relationship Id="rId38" Type="http://schemas.openxmlformats.org/officeDocument/2006/relationships/image" Target="../media/image9.emf"/><Relationship Id="rId2" Type="http://schemas.openxmlformats.org/officeDocument/2006/relationships/slideLayout" Target="../slideLayouts/slideLayout52.xml"/><Relationship Id="rId16" Type="http://schemas.openxmlformats.org/officeDocument/2006/relationships/slideLayout" Target="../slideLayouts/slideLayout66.xml"/><Relationship Id="rId20" Type="http://schemas.openxmlformats.org/officeDocument/2006/relationships/slideLayout" Target="../slideLayouts/slideLayout70.xml"/><Relationship Id="rId29" Type="http://schemas.openxmlformats.org/officeDocument/2006/relationships/slideLayout" Target="../slideLayouts/slideLayout79.xml"/><Relationship Id="rId1" Type="http://schemas.openxmlformats.org/officeDocument/2006/relationships/slideLayout" Target="../slideLayouts/slideLayout51.xml"/><Relationship Id="rId6" Type="http://schemas.openxmlformats.org/officeDocument/2006/relationships/slideLayout" Target="../slideLayouts/slideLayout56.xml"/><Relationship Id="rId11" Type="http://schemas.openxmlformats.org/officeDocument/2006/relationships/slideLayout" Target="../slideLayouts/slideLayout61.xml"/><Relationship Id="rId24" Type="http://schemas.openxmlformats.org/officeDocument/2006/relationships/slideLayout" Target="../slideLayouts/slideLayout74.xml"/><Relationship Id="rId32" Type="http://schemas.openxmlformats.org/officeDocument/2006/relationships/slideLayout" Target="../slideLayouts/slideLayout82.xml"/><Relationship Id="rId37" Type="http://schemas.openxmlformats.org/officeDocument/2006/relationships/theme" Target="../theme/theme3.xml"/><Relationship Id="rId5" Type="http://schemas.openxmlformats.org/officeDocument/2006/relationships/slideLayout" Target="../slideLayouts/slideLayout55.xml"/><Relationship Id="rId15" Type="http://schemas.openxmlformats.org/officeDocument/2006/relationships/slideLayout" Target="../slideLayouts/slideLayout65.xml"/><Relationship Id="rId23" Type="http://schemas.openxmlformats.org/officeDocument/2006/relationships/slideLayout" Target="../slideLayouts/slideLayout73.xml"/><Relationship Id="rId28" Type="http://schemas.openxmlformats.org/officeDocument/2006/relationships/slideLayout" Target="../slideLayouts/slideLayout78.xml"/><Relationship Id="rId36" Type="http://schemas.openxmlformats.org/officeDocument/2006/relationships/slideLayout" Target="../slideLayouts/slideLayout86.xml"/><Relationship Id="rId10" Type="http://schemas.openxmlformats.org/officeDocument/2006/relationships/slideLayout" Target="../slideLayouts/slideLayout60.xml"/><Relationship Id="rId19" Type="http://schemas.openxmlformats.org/officeDocument/2006/relationships/slideLayout" Target="../slideLayouts/slideLayout69.xml"/><Relationship Id="rId31" Type="http://schemas.openxmlformats.org/officeDocument/2006/relationships/slideLayout" Target="../slideLayouts/slideLayout81.xml"/><Relationship Id="rId4" Type="http://schemas.openxmlformats.org/officeDocument/2006/relationships/slideLayout" Target="../slideLayouts/slideLayout54.xml"/><Relationship Id="rId9" Type="http://schemas.openxmlformats.org/officeDocument/2006/relationships/slideLayout" Target="../slideLayouts/slideLayout59.xml"/><Relationship Id="rId14" Type="http://schemas.openxmlformats.org/officeDocument/2006/relationships/slideLayout" Target="../slideLayouts/slideLayout64.xml"/><Relationship Id="rId22" Type="http://schemas.openxmlformats.org/officeDocument/2006/relationships/slideLayout" Target="../slideLayouts/slideLayout72.xml"/><Relationship Id="rId27" Type="http://schemas.openxmlformats.org/officeDocument/2006/relationships/slideLayout" Target="../slideLayouts/slideLayout77.xml"/><Relationship Id="rId30" Type="http://schemas.openxmlformats.org/officeDocument/2006/relationships/slideLayout" Target="../slideLayouts/slideLayout80.xml"/><Relationship Id="rId35" Type="http://schemas.openxmlformats.org/officeDocument/2006/relationships/slideLayout" Target="../slideLayouts/slideLayout85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4.xml"/><Relationship Id="rId13" Type="http://schemas.openxmlformats.org/officeDocument/2006/relationships/slideLayout" Target="../slideLayouts/slideLayout99.xml"/><Relationship Id="rId18" Type="http://schemas.openxmlformats.org/officeDocument/2006/relationships/slideLayout" Target="../slideLayouts/slideLayout104.xml"/><Relationship Id="rId26" Type="http://schemas.openxmlformats.org/officeDocument/2006/relationships/slideLayout" Target="../slideLayouts/slideLayout112.xml"/><Relationship Id="rId39" Type="http://schemas.openxmlformats.org/officeDocument/2006/relationships/theme" Target="../theme/theme4.xml"/><Relationship Id="rId3" Type="http://schemas.openxmlformats.org/officeDocument/2006/relationships/slideLayout" Target="../slideLayouts/slideLayout89.xml"/><Relationship Id="rId21" Type="http://schemas.openxmlformats.org/officeDocument/2006/relationships/slideLayout" Target="../slideLayouts/slideLayout107.xml"/><Relationship Id="rId34" Type="http://schemas.openxmlformats.org/officeDocument/2006/relationships/slideLayout" Target="../slideLayouts/slideLayout120.xml"/><Relationship Id="rId7" Type="http://schemas.openxmlformats.org/officeDocument/2006/relationships/slideLayout" Target="../slideLayouts/slideLayout93.xml"/><Relationship Id="rId12" Type="http://schemas.openxmlformats.org/officeDocument/2006/relationships/slideLayout" Target="../slideLayouts/slideLayout98.xml"/><Relationship Id="rId17" Type="http://schemas.openxmlformats.org/officeDocument/2006/relationships/slideLayout" Target="../slideLayouts/slideLayout103.xml"/><Relationship Id="rId25" Type="http://schemas.openxmlformats.org/officeDocument/2006/relationships/slideLayout" Target="../slideLayouts/slideLayout111.xml"/><Relationship Id="rId33" Type="http://schemas.openxmlformats.org/officeDocument/2006/relationships/slideLayout" Target="../slideLayouts/slideLayout119.xml"/><Relationship Id="rId38" Type="http://schemas.openxmlformats.org/officeDocument/2006/relationships/slideLayout" Target="../slideLayouts/slideLayout124.xml"/><Relationship Id="rId2" Type="http://schemas.openxmlformats.org/officeDocument/2006/relationships/slideLayout" Target="../slideLayouts/slideLayout88.xml"/><Relationship Id="rId16" Type="http://schemas.openxmlformats.org/officeDocument/2006/relationships/slideLayout" Target="../slideLayouts/slideLayout102.xml"/><Relationship Id="rId20" Type="http://schemas.openxmlformats.org/officeDocument/2006/relationships/slideLayout" Target="../slideLayouts/slideLayout106.xml"/><Relationship Id="rId29" Type="http://schemas.openxmlformats.org/officeDocument/2006/relationships/slideLayout" Target="../slideLayouts/slideLayout115.xml"/><Relationship Id="rId41" Type="http://schemas.openxmlformats.org/officeDocument/2006/relationships/image" Target="../media/image10.emf"/><Relationship Id="rId1" Type="http://schemas.openxmlformats.org/officeDocument/2006/relationships/slideLayout" Target="../slideLayouts/slideLayout87.xml"/><Relationship Id="rId6" Type="http://schemas.openxmlformats.org/officeDocument/2006/relationships/slideLayout" Target="../slideLayouts/slideLayout92.xml"/><Relationship Id="rId11" Type="http://schemas.openxmlformats.org/officeDocument/2006/relationships/slideLayout" Target="../slideLayouts/slideLayout97.xml"/><Relationship Id="rId24" Type="http://schemas.openxmlformats.org/officeDocument/2006/relationships/slideLayout" Target="../slideLayouts/slideLayout110.xml"/><Relationship Id="rId32" Type="http://schemas.openxmlformats.org/officeDocument/2006/relationships/slideLayout" Target="../slideLayouts/slideLayout118.xml"/><Relationship Id="rId37" Type="http://schemas.openxmlformats.org/officeDocument/2006/relationships/slideLayout" Target="../slideLayouts/slideLayout123.xml"/><Relationship Id="rId40" Type="http://schemas.openxmlformats.org/officeDocument/2006/relationships/image" Target="../media/image9.emf"/><Relationship Id="rId5" Type="http://schemas.openxmlformats.org/officeDocument/2006/relationships/slideLayout" Target="../slideLayouts/slideLayout91.xml"/><Relationship Id="rId15" Type="http://schemas.openxmlformats.org/officeDocument/2006/relationships/slideLayout" Target="../slideLayouts/slideLayout101.xml"/><Relationship Id="rId23" Type="http://schemas.openxmlformats.org/officeDocument/2006/relationships/slideLayout" Target="../slideLayouts/slideLayout109.xml"/><Relationship Id="rId28" Type="http://schemas.openxmlformats.org/officeDocument/2006/relationships/slideLayout" Target="../slideLayouts/slideLayout114.xml"/><Relationship Id="rId36" Type="http://schemas.openxmlformats.org/officeDocument/2006/relationships/slideLayout" Target="../slideLayouts/slideLayout122.xml"/><Relationship Id="rId10" Type="http://schemas.openxmlformats.org/officeDocument/2006/relationships/slideLayout" Target="../slideLayouts/slideLayout96.xml"/><Relationship Id="rId19" Type="http://schemas.openxmlformats.org/officeDocument/2006/relationships/slideLayout" Target="../slideLayouts/slideLayout105.xml"/><Relationship Id="rId31" Type="http://schemas.openxmlformats.org/officeDocument/2006/relationships/slideLayout" Target="../slideLayouts/slideLayout117.xml"/><Relationship Id="rId4" Type="http://schemas.openxmlformats.org/officeDocument/2006/relationships/slideLayout" Target="../slideLayouts/slideLayout90.xml"/><Relationship Id="rId9" Type="http://schemas.openxmlformats.org/officeDocument/2006/relationships/slideLayout" Target="../slideLayouts/slideLayout95.xml"/><Relationship Id="rId14" Type="http://schemas.openxmlformats.org/officeDocument/2006/relationships/slideLayout" Target="../slideLayouts/slideLayout100.xml"/><Relationship Id="rId22" Type="http://schemas.openxmlformats.org/officeDocument/2006/relationships/slideLayout" Target="../slideLayouts/slideLayout108.xml"/><Relationship Id="rId27" Type="http://schemas.openxmlformats.org/officeDocument/2006/relationships/slideLayout" Target="../slideLayouts/slideLayout113.xml"/><Relationship Id="rId30" Type="http://schemas.openxmlformats.org/officeDocument/2006/relationships/slideLayout" Target="../slideLayouts/slideLayout116.xml"/><Relationship Id="rId35" Type="http://schemas.openxmlformats.org/officeDocument/2006/relationships/slideLayout" Target="../slideLayouts/slideLayout12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>
            <a:extLst>
              <a:ext uri="{FF2B5EF4-FFF2-40B4-BE49-F238E27FC236}">
                <a16:creationId xmlns:a16="http://schemas.microsoft.com/office/drawing/2014/main" id="{8F61328A-DD5A-4376-9C6D-FC96B36418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725844472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18" imgW="416" imgH="416" progId="TCLayout.ActiveDocument.1">
                  <p:embed/>
                </p:oleObj>
              </mc:Choice>
              <mc:Fallback>
                <p:oleObj name="think-cell Folie" r:id="rId18" imgW="416" imgH="416" progId="TCLayout.ActiveDocument.1">
                  <p:embed/>
                  <p:pic>
                    <p:nvPicPr>
                      <p:cNvPr id="2" name="Objekt 1" hidden="1">
                        <a:extLst>
                          <a:ext uri="{FF2B5EF4-FFF2-40B4-BE49-F238E27FC236}">
                            <a16:creationId xmlns:a16="http://schemas.microsoft.com/office/drawing/2014/main" id="{8F61328A-DD5A-4376-9C6D-FC96B36418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9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720000" y="6595200"/>
            <a:ext cx="106896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de-CH"/>
              <a:t>stat@sbb.ch 18.11.2020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443200" y="6595200"/>
            <a:ext cx="316800" cy="262800"/>
          </a:xfrm>
          <a:prstGeom prst="rect">
            <a:avLst/>
          </a:prstGeom>
        </p:spPr>
        <p:txBody>
          <a:bodyPr vert="horz" wrap="square" lIns="0" tIns="46800" rIns="0" bIns="46800" rtlCol="0" anchor="t" anchorCtr="0">
            <a:noAutofit/>
          </a:bodyPr>
          <a:lstStyle>
            <a:lvl1pPr algn="r">
              <a:defRPr sz="800" b="1"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fld id="{5E115662-413A-4888-B9BC-797CDE14544F}" type="slidenum">
              <a:rPr lang="de-CH" smtClean="0"/>
              <a:pPr/>
              <a:t>‹Nr.›</a:t>
            </a:fld>
            <a:endParaRPr lang="de-CH"/>
          </a:p>
        </p:txBody>
      </p:sp>
      <p:sp>
        <p:nvSpPr>
          <p:cNvPr id="3" name="Titelplatzhalter 2"/>
          <p:cNvSpPr>
            <a:spLocks noGrp="1"/>
          </p:cNvSpPr>
          <p:nvPr>
            <p:ph type="title"/>
          </p:nvPr>
        </p:nvSpPr>
        <p:spPr>
          <a:xfrm>
            <a:off x="720000" y="835200"/>
            <a:ext cx="11040200" cy="494400"/>
          </a:xfrm>
          <a:prstGeom prst="rect">
            <a:avLst/>
          </a:prstGeom>
        </p:spPr>
        <p:txBody>
          <a:bodyPr vert="horz" wrap="none" lIns="0" tIns="0" rIns="0" bIns="0" rtlCol="0" anchor="b" anchorCtr="0">
            <a:noAutofit/>
          </a:bodyPr>
          <a:lstStyle/>
          <a:p>
            <a:r>
              <a:rPr lang="de-DE"/>
              <a:t>Titelmasterformat durch Klicken bearbeiten</a:t>
            </a:r>
            <a:endParaRPr lang="de-CH"/>
          </a:p>
        </p:txBody>
      </p:sp>
      <p:sp>
        <p:nvSpPr>
          <p:cNvPr id="4" name="Textplatzhalter 3"/>
          <p:cNvSpPr>
            <a:spLocks noGrp="1"/>
          </p:cNvSpPr>
          <p:nvPr>
            <p:ph type="body" idx="1"/>
          </p:nvPr>
        </p:nvSpPr>
        <p:spPr>
          <a:xfrm>
            <a:off x="720000" y="1512000"/>
            <a:ext cx="11040000" cy="5078400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DE"/>
              <a:t>Textmaster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de-CH"/>
          </a:p>
        </p:txBody>
      </p:sp>
    </p:spTree>
    <p:extLst>
      <p:ext uri="{BB962C8B-B14F-4D97-AF65-F5344CB8AC3E}">
        <p14:creationId xmlns:p14="http://schemas.microsoft.com/office/powerpoint/2010/main" val="330775869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  <p:sldLayoutId id="2147483673" r:id="rId13"/>
    <p:sldLayoutId id="2147483674" r:id="rId14"/>
    <p:sldLayoutId id="2147483675" r:id="rId15"/>
  </p:sldLayoutIdLst>
  <p:hf sldNum="0" hdr="0" dt="0"/>
  <p:txStyles>
    <p:titleStyle>
      <a:lvl1pPr algn="l" defTabSz="1088406" rtl="0" eaLnBrk="1" latinLnBrk="0" hangingPunct="1">
        <a:spcBef>
          <a:spcPct val="0"/>
        </a:spcBef>
        <a:buNone/>
        <a:defRPr sz="3200" b="1" kern="120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83990" indent="-383990" algn="l" defTabSz="1088406" rtl="0" eaLnBrk="1" latinLnBrk="0" hangingPunct="1">
        <a:lnSpc>
          <a:spcPct val="100000"/>
        </a:lnSpc>
        <a:spcBef>
          <a:spcPts val="800"/>
        </a:spcBef>
        <a:buClr>
          <a:srgbClr val="FF0000"/>
        </a:buClr>
        <a:buSzPct val="80000"/>
        <a:buFont typeface="Wingdings 3" pitchFamily="18" charset="2"/>
        <a:buChar char="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1pPr>
      <a:lvl2pPr marL="723882" indent="-370408" algn="l" defTabSz="1088406" rtl="0" eaLnBrk="1" latinLnBrk="0" hangingPunct="1">
        <a:lnSpc>
          <a:spcPct val="100000"/>
        </a:lnSpc>
        <a:spcBef>
          <a:spcPts val="800"/>
        </a:spcBef>
        <a:buClr>
          <a:srgbClr val="000000"/>
        </a:buClr>
        <a:buSzPct val="80000"/>
        <a:buFont typeface="Arial" pitchFamily="34" charset="0"/>
        <a:buChar char="•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2pPr>
      <a:lvl3pPr marL="1077357" indent="-353475" algn="l" defTabSz="1088406" rtl="0" eaLnBrk="1" latinLnBrk="0" hangingPunct="1">
        <a:lnSpc>
          <a:spcPct val="100000"/>
        </a:lnSpc>
        <a:spcBef>
          <a:spcPts val="800"/>
        </a:spcBef>
        <a:buClr>
          <a:schemeClr val="tx1"/>
        </a:buClr>
        <a:buSzPct val="90000"/>
        <a:buFont typeface="Symbol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3pPr>
      <a:lvl4pPr marL="1430831" indent="-353475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DE" sz="2667" kern="1200" noProof="0" dirty="0" smtClean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4pPr>
      <a:lvl5pPr marL="1786422" indent="-355591" algn="l" defTabSz="1088406" rtl="0" eaLnBrk="1" latinLnBrk="0" hangingPunct="1">
        <a:lnSpc>
          <a:spcPct val="100000"/>
        </a:lnSpc>
        <a:spcBef>
          <a:spcPts val="800"/>
        </a:spcBef>
        <a:buClr>
          <a:srgbClr val="2D327D"/>
        </a:buClr>
        <a:buSzPct val="90000"/>
        <a:buFont typeface="Symbol" panose="05050102010706020507" pitchFamily="18" charset="2"/>
        <a:buChar char="-"/>
        <a:defRPr lang="de-CH" sz="2667" kern="1200" noProof="0" dirty="0">
          <a:solidFill>
            <a:schemeClr val="tx1"/>
          </a:solidFill>
          <a:latin typeface="Arial" pitchFamily="34" charset="0"/>
          <a:ea typeface="+mn-ea"/>
          <a:cs typeface="Arial" pitchFamily="34" charset="0"/>
        </a:defRPr>
      </a:lvl5pPr>
      <a:lvl6pPr marL="2993113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6pPr>
      <a:lvl7pPr marL="3537317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7pPr>
      <a:lvl8pPr marL="4081519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8pPr>
      <a:lvl9pPr marL="4625720" indent="-272101" algn="l" defTabSz="1088406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1pPr>
      <a:lvl2pPr marL="544202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2pPr>
      <a:lvl3pPr marL="1088406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3pPr>
      <a:lvl4pPr marL="163260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4pPr>
      <a:lvl5pPr marL="2176810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5pPr>
      <a:lvl6pPr marL="2721011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6pPr>
      <a:lvl7pPr marL="3265214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7pPr>
      <a:lvl8pPr marL="3809417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8pPr>
      <a:lvl9pPr marL="4353619" algn="l" defTabSz="1088406" rtl="0" eaLnBrk="1" latinLnBrk="0" hangingPunct="1">
        <a:defRPr sz="21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0782164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7" r:id="rId1"/>
    <p:sldLayoutId id="2147483678" r:id="rId2"/>
    <p:sldLayoutId id="2147483679" r:id="rId3"/>
    <p:sldLayoutId id="2147483680" r:id="rId4"/>
    <p:sldLayoutId id="2147483681" r:id="rId5"/>
    <p:sldLayoutId id="2147483682" r:id="rId6"/>
    <p:sldLayoutId id="2147483683" r:id="rId7"/>
    <p:sldLayoutId id="2147483684" r:id="rId8"/>
    <p:sldLayoutId id="2147483685" r:id="rId9"/>
    <p:sldLayoutId id="2147483686" r:id="rId10"/>
    <p:sldLayoutId id="2147483687" r:id="rId11"/>
    <p:sldLayoutId id="2147483688" r:id="rId12"/>
    <p:sldLayoutId id="2147483689" r:id="rId13"/>
    <p:sldLayoutId id="2147483690" r:id="rId14"/>
    <p:sldLayoutId id="2147483691" r:id="rId15"/>
    <p:sldLayoutId id="2147483692" r:id="rId16"/>
    <p:sldLayoutId id="2147483693" r:id="rId17"/>
    <p:sldLayoutId id="2147483694" r:id="rId18"/>
    <p:sldLayoutId id="2147483695" r:id="rId19"/>
    <p:sldLayoutId id="2147483696" r:id="rId20"/>
    <p:sldLayoutId id="2147483697" r:id="rId21"/>
    <p:sldLayoutId id="2147483698" r:id="rId22"/>
    <p:sldLayoutId id="2147483699" r:id="rId23"/>
    <p:sldLayoutId id="2147483700" r:id="rId24"/>
    <p:sldLayoutId id="2147483701" r:id="rId25"/>
    <p:sldLayoutId id="2147483702" r:id="rId26"/>
    <p:sldLayoutId id="2147483703" r:id="rId27"/>
    <p:sldLayoutId id="2147483704" r:id="rId28"/>
    <p:sldLayoutId id="2147483705" r:id="rId29"/>
    <p:sldLayoutId id="2147483706" r:id="rId30"/>
    <p:sldLayoutId id="2147483707" r:id="rId31"/>
    <p:sldLayoutId id="2147483708" r:id="rId32"/>
    <p:sldLayoutId id="2147483709" r:id="rId33"/>
    <p:sldLayoutId id="2147483710" r:id="rId34"/>
    <p:sldLayoutId id="2147483711" r:id="rId35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8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3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73661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13" r:id="rId1"/>
    <p:sldLayoutId id="2147483714" r:id="rId2"/>
    <p:sldLayoutId id="2147483715" r:id="rId3"/>
    <p:sldLayoutId id="2147483716" r:id="rId4"/>
    <p:sldLayoutId id="2147483717" r:id="rId5"/>
    <p:sldLayoutId id="2147483718" r:id="rId6"/>
    <p:sldLayoutId id="2147483719" r:id="rId7"/>
    <p:sldLayoutId id="2147483720" r:id="rId8"/>
    <p:sldLayoutId id="2147483721" r:id="rId9"/>
    <p:sldLayoutId id="2147483722" r:id="rId10"/>
    <p:sldLayoutId id="2147483723" r:id="rId11"/>
    <p:sldLayoutId id="2147483724" r:id="rId12"/>
    <p:sldLayoutId id="2147483725" r:id="rId13"/>
    <p:sldLayoutId id="2147483726" r:id="rId14"/>
    <p:sldLayoutId id="2147483727" r:id="rId15"/>
    <p:sldLayoutId id="2147483728" r:id="rId16"/>
    <p:sldLayoutId id="2147483729" r:id="rId17"/>
    <p:sldLayoutId id="2147483730" r:id="rId18"/>
    <p:sldLayoutId id="2147483731" r:id="rId19"/>
    <p:sldLayoutId id="2147483732" r:id="rId20"/>
    <p:sldLayoutId id="2147483733" r:id="rId21"/>
    <p:sldLayoutId id="2147483734" r:id="rId22"/>
    <p:sldLayoutId id="2147483735" r:id="rId23"/>
    <p:sldLayoutId id="2147483736" r:id="rId24"/>
    <p:sldLayoutId id="2147483737" r:id="rId25"/>
    <p:sldLayoutId id="2147483738" r:id="rId26"/>
    <p:sldLayoutId id="2147483739" r:id="rId27"/>
    <p:sldLayoutId id="2147483740" r:id="rId28"/>
    <p:sldLayoutId id="2147483741" r:id="rId29"/>
    <p:sldLayoutId id="2147483742" r:id="rId30"/>
    <p:sldLayoutId id="2147483743" r:id="rId31"/>
    <p:sldLayoutId id="2147483744" r:id="rId32"/>
    <p:sldLayoutId id="2147483745" r:id="rId33"/>
    <p:sldLayoutId id="2147483746" r:id="rId34"/>
    <p:sldLayoutId id="2147483747" r:id="rId35"/>
    <p:sldLayoutId id="2147483750" r:id="rId36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39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platzhalter 1"/>
          <p:cNvSpPr>
            <a:spLocks noGrp="1"/>
          </p:cNvSpPr>
          <p:nvPr>
            <p:ph type="title"/>
          </p:nvPr>
        </p:nvSpPr>
        <p:spPr>
          <a:xfrm>
            <a:off x="1487488" y="493295"/>
            <a:ext cx="9220200" cy="848226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de-CH"/>
              <a:t>Titel hinzufügen.</a:t>
            </a:r>
          </a:p>
        </p:txBody>
      </p:sp>
      <p:sp>
        <p:nvSpPr>
          <p:cNvPr id="3" name="Textplatzhalter 2"/>
          <p:cNvSpPr>
            <a:spLocks noGrp="1"/>
          </p:cNvSpPr>
          <p:nvPr>
            <p:ph type="body" idx="1"/>
          </p:nvPr>
        </p:nvSpPr>
        <p:spPr>
          <a:xfrm>
            <a:off x="1487488" y="1949116"/>
            <a:ext cx="9220200" cy="446821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de-CH" noProof="0"/>
              <a:t>Textmasterformat bearbeiten</a:t>
            </a:r>
          </a:p>
          <a:p>
            <a:pPr lvl="1"/>
            <a:r>
              <a:rPr lang="de-CH" noProof="0"/>
              <a:t>Zweite Ebene</a:t>
            </a:r>
          </a:p>
          <a:p>
            <a:pPr lvl="2"/>
            <a:r>
              <a:rPr lang="de-CH" noProof="0"/>
              <a:t>Dritte Ebene</a:t>
            </a:r>
          </a:p>
          <a:p>
            <a:pPr lvl="3"/>
            <a:r>
              <a:rPr lang="de-CH" noProof="0"/>
              <a:t>Vierte Ebene</a:t>
            </a:r>
          </a:p>
          <a:p>
            <a:pPr lvl="4"/>
            <a:r>
              <a:rPr lang="de-CH" noProof="0"/>
              <a:t>Fünfte Ebene</a:t>
            </a:r>
          </a:p>
          <a:p>
            <a:pPr lvl="5"/>
            <a:r>
              <a:rPr lang="de-CH" noProof="0"/>
              <a:t>Sechste Ebene</a:t>
            </a:r>
          </a:p>
          <a:p>
            <a:pPr lvl="6"/>
            <a:r>
              <a:rPr lang="de-CH" noProof="0"/>
              <a:t>Siebte Ebene</a:t>
            </a:r>
          </a:p>
          <a:p>
            <a:pPr lvl="7"/>
            <a:r>
              <a:rPr lang="de-CH" sz="2800" noProof="0"/>
              <a:t>Achte Ebene</a:t>
            </a:r>
          </a:p>
          <a:p>
            <a:pPr lvl="8"/>
            <a:r>
              <a:rPr lang="de-CH" noProof="0"/>
              <a:t>Neunte Ebene</a:t>
            </a:r>
          </a:p>
          <a:p>
            <a:pPr lvl="7"/>
            <a:endParaRPr lang="de-CH" noProof="0"/>
          </a:p>
        </p:txBody>
      </p:sp>
      <p:sp>
        <p:nvSpPr>
          <p:cNvPr id="4" name="Datumsplatzhalter 3"/>
          <p:cNvSpPr>
            <a:spLocks noGrp="1"/>
          </p:cNvSpPr>
          <p:nvPr>
            <p:ph type="dt" sz="half" idx="2"/>
          </p:nvPr>
        </p:nvSpPr>
        <p:spPr>
          <a:xfrm>
            <a:off x="550862" y="6484293"/>
            <a:ext cx="828614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fld id="{80211CA0-77D7-4CC2-8F9F-61D424A519D7}" type="datetimeyyyy">
              <a:rPr lang="de-CH" smtClean="0"/>
              <a:t>2025</a:t>
            </a:fld>
            <a:endParaRPr lang="de-CH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3"/>
          </p:nvPr>
        </p:nvSpPr>
        <p:spPr>
          <a:xfrm>
            <a:off x="1489460" y="6484293"/>
            <a:ext cx="9218228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l">
              <a:defRPr sz="800" spc="10" baseline="0">
                <a:solidFill>
                  <a:schemeClr val="tx2"/>
                </a:solidFill>
              </a:defRPr>
            </a:lvl1pPr>
          </a:lstStyle>
          <a:p>
            <a:r>
              <a:rPr lang="de-DE"/>
              <a:t>SBB Division Abteilung und Bereich</a:t>
            </a:r>
            <a:endParaRPr lang="de-CH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4"/>
          </p:nvPr>
        </p:nvSpPr>
        <p:spPr>
          <a:xfrm>
            <a:off x="10895839" y="6484293"/>
            <a:ext cx="745299" cy="127938"/>
          </a:xfrm>
          <a:prstGeom prst="rect">
            <a:avLst/>
          </a:prstGeom>
        </p:spPr>
        <p:txBody>
          <a:bodyPr vert="horz" lIns="0" tIns="0" rIns="0" bIns="0" rtlCol="0" anchor="t" anchorCtr="0"/>
          <a:lstStyle>
            <a:lvl1pPr algn="r">
              <a:defRPr sz="800" spc="10" baseline="0">
                <a:solidFill>
                  <a:schemeClr val="tx2"/>
                </a:solidFill>
              </a:defRPr>
            </a:lvl1pPr>
          </a:lstStyle>
          <a:p>
            <a:fld id="{442AD375-037F-43D0-B059-5172DA06796A}" type="slidenum">
              <a:rPr lang="de-CH" smtClean="0"/>
              <a:pPr/>
              <a:t>‹Nr.›</a:t>
            </a:fld>
            <a:endParaRPr lang="de-CH"/>
          </a:p>
        </p:txBody>
      </p:sp>
      <p:pic>
        <p:nvPicPr>
          <p:cNvPr id="13" name="Grafik 12">
            <a:extLst>
              <a:ext uri="{FF2B5EF4-FFF2-40B4-BE49-F238E27FC236}">
                <a16:creationId xmlns:a16="http://schemas.microsoft.com/office/drawing/2014/main" id="{B0EBCC42-C47E-42C1-A885-21EC5F328973}"/>
              </a:ext>
            </a:extLst>
          </p:cNvPr>
          <p:cNvPicPr>
            <a:picLocks noChangeAspect="1"/>
          </p:cNvPicPr>
          <p:nvPr userDrawn="1"/>
        </p:nvPicPr>
        <p:blipFill>
          <a:blip r:embed="rId4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087099" y="288303"/>
            <a:ext cx="561183" cy="1974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139481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2" r:id="rId1"/>
    <p:sldLayoutId id="2147483753" r:id="rId2"/>
    <p:sldLayoutId id="2147483754" r:id="rId3"/>
    <p:sldLayoutId id="2147483755" r:id="rId4"/>
    <p:sldLayoutId id="2147483756" r:id="rId5"/>
    <p:sldLayoutId id="2147483757" r:id="rId6"/>
    <p:sldLayoutId id="2147483758" r:id="rId7"/>
    <p:sldLayoutId id="2147483759" r:id="rId8"/>
    <p:sldLayoutId id="2147483760" r:id="rId9"/>
    <p:sldLayoutId id="2147483761" r:id="rId10"/>
    <p:sldLayoutId id="2147483762" r:id="rId11"/>
    <p:sldLayoutId id="2147483763" r:id="rId12"/>
    <p:sldLayoutId id="2147483764" r:id="rId13"/>
    <p:sldLayoutId id="2147483765" r:id="rId14"/>
    <p:sldLayoutId id="2147483766" r:id="rId15"/>
    <p:sldLayoutId id="2147483767" r:id="rId16"/>
    <p:sldLayoutId id="2147483768" r:id="rId17"/>
    <p:sldLayoutId id="2147483769" r:id="rId18"/>
    <p:sldLayoutId id="2147483770" r:id="rId19"/>
    <p:sldLayoutId id="2147483771" r:id="rId20"/>
    <p:sldLayoutId id="2147483772" r:id="rId21"/>
    <p:sldLayoutId id="2147483773" r:id="rId22"/>
    <p:sldLayoutId id="2147483774" r:id="rId23"/>
    <p:sldLayoutId id="2147483775" r:id="rId24"/>
    <p:sldLayoutId id="2147483776" r:id="rId25"/>
    <p:sldLayoutId id="2147483777" r:id="rId26"/>
    <p:sldLayoutId id="2147483778" r:id="rId27"/>
    <p:sldLayoutId id="2147483779" r:id="rId28"/>
    <p:sldLayoutId id="2147483780" r:id="rId29"/>
    <p:sldLayoutId id="2147483781" r:id="rId30"/>
    <p:sldLayoutId id="2147483782" r:id="rId31"/>
    <p:sldLayoutId id="2147483783" r:id="rId32"/>
    <p:sldLayoutId id="2147483784" r:id="rId33"/>
    <p:sldLayoutId id="2147483785" r:id="rId34"/>
    <p:sldLayoutId id="2147483786" r:id="rId35"/>
    <p:sldLayoutId id="2147483787" r:id="rId36"/>
    <p:sldLayoutId id="2147483788" r:id="rId37"/>
    <p:sldLayoutId id="2147483789" r:id="rId38"/>
  </p:sldLayoutIdLst>
  <p:hf hdr="0" ftr="0" dt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sz="2800" kern="1200" spc="60" baseline="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 typeface="+mj-lt"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1pPr>
      <a:lvl2pPr marL="36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2pPr>
      <a:lvl3pPr marL="72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3pPr>
      <a:lvl4pPr marL="108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4pPr>
      <a:lvl5pPr marL="1440000" indent="-360000" algn="l" defTabSz="914400" rtl="0" eaLnBrk="1" latinLnBrk="0" hangingPunct="1">
        <a:lnSpc>
          <a:spcPct val="100000"/>
        </a:lnSpc>
        <a:spcBef>
          <a:spcPts val="0"/>
        </a:spcBef>
        <a:buClr>
          <a:schemeClr val="accent3"/>
        </a:buClr>
        <a:buSzPct val="100000"/>
        <a:buFont typeface="SBB Light" pitchFamily="2" charset="0"/>
        <a:buChar char="–"/>
        <a:defRPr sz="2800" kern="1200">
          <a:solidFill>
            <a:schemeClr val="tx2"/>
          </a:solidFill>
          <a:latin typeface="+mn-lt"/>
          <a:ea typeface="+mn-ea"/>
          <a:cs typeface="+mn-cs"/>
        </a:defRPr>
      </a:lvl5pPr>
      <a:lvl6pPr marL="360000" indent="-360000" algn="l" defTabSz="914400" rtl="0" eaLnBrk="1" latinLnBrk="0" hangingPunct="1">
        <a:lnSpc>
          <a:spcPct val="90000"/>
        </a:lnSpc>
        <a:spcBef>
          <a:spcPts val="500"/>
        </a:spcBef>
        <a:buFontTx/>
        <a:buBlip>
          <a:blip r:embed="rId41"/>
        </a:buBlip>
        <a:defRPr sz="2800" kern="1200">
          <a:solidFill>
            <a:schemeClr val="tx2"/>
          </a:solidFill>
          <a:latin typeface="+mn-lt"/>
          <a:ea typeface="+mn-ea"/>
          <a:cs typeface="+mn-cs"/>
        </a:defRPr>
      </a:lvl6pPr>
      <a:lvl7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7pPr>
      <a:lvl8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8pPr>
      <a:lvl9pPr marL="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2800" kern="1200">
          <a:solidFill>
            <a:schemeClr val="tx2"/>
          </a:solidFill>
          <a:latin typeface="+mn-lt"/>
          <a:ea typeface="+mn-ea"/>
          <a:cs typeface="+mn-cs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2.xml"/><Relationship Id="rId7" Type="http://schemas.openxmlformats.org/officeDocument/2006/relationships/chart" Target="../charts/chart1.xml"/><Relationship Id="rId2" Type="http://schemas.openxmlformats.org/officeDocument/2006/relationships/tags" Target="../tags/tag5.xml"/><Relationship Id="rId1" Type="http://schemas.openxmlformats.org/officeDocument/2006/relationships/tags" Target="../tags/tag4.xml"/><Relationship Id="rId6" Type="http://schemas.openxmlformats.org/officeDocument/2006/relationships/image" Target="../media/image16.emf"/><Relationship Id="rId5" Type="http://schemas.openxmlformats.org/officeDocument/2006/relationships/oleObject" Target="../embeddings/oleObject3.bin"/><Relationship Id="rId4" Type="http://schemas.openxmlformats.org/officeDocument/2006/relationships/notesSlide" Target="../notesSlides/notesSlide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6F6F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2EE3096D-63F5-415F-B8E4-765C23175D1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5" imgW="352" imgH="353" progId="TCLayout.ActiveDocument.1">
                  <p:embed/>
                </p:oleObj>
              </mc:Choice>
              <mc:Fallback>
                <p:oleObj name="think-cell Folie" r:id="rId5" imgW="352" imgH="353" progId="TCLayout.ActiveDocument.1">
                  <p:embed/>
                  <p:pic>
                    <p:nvPicPr>
                      <p:cNvPr id="7" name="Objekt 6" hidden="1">
                        <a:extLst>
                          <a:ext uri="{FF2B5EF4-FFF2-40B4-BE49-F238E27FC236}">
                            <a16:creationId xmlns:a16="http://schemas.microsoft.com/office/drawing/2014/main" id="{2EE3096D-63F5-415F-B8E4-765C23175D1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Rechteck 9" hidden="1">
            <a:extLst>
              <a:ext uri="{FF2B5EF4-FFF2-40B4-BE49-F238E27FC236}">
                <a16:creationId xmlns:a16="http://schemas.microsoft.com/office/drawing/2014/main" id="{08AAF2B3-9DD3-4BE3-8383-7A2141055AA1}"/>
              </a:ext>
            </a:extLst>
          </p:cNvPr>
          <p:cNvSpPr/>
          <p:nvPr>
            <p:custDataLst>
              <p:tags r:id="rId2"/>
            </p:custDataLst>
          </p:nvPr>
        </p:nvSpPr>
        <p:spPr>
          <a:xfrm>
            <a:off x="1524000" y="0"/>
            <a:ext cx="158750" cy="15875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t" anchorCtr="0">
            <a:noAutofit/>
          </a:bodyPr>
          <a:lstStyle/>
          <a:p>
            <a:pPr algn="ctr">
              <a:spcBef>
                <a:spcPct val="0"/>
              </a:spcBef>
              <a:spcAft>
                <a:spcPct val="0"/>
              </a:spcAft>
            </a:pPr>
            <a:endParaRPr lang="de-CH" sz="2400" b="1" dirty="0">
              <a:latin typeface="Arial" panose="020B0604020202020204" pitchFamily="34" charset="0"/>
              <a:ea typeface="+mj-ea"/>
              <a:cs typeface="Arial" panose="020B0604020202020204" pitchFamily="34" charset="0"/>
              <a:sym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CH" dirty="0"/>
              <a:t>Streckennetzelektrifizierung in Europa im 2023.</a:t>
            </a:r>
          </a:p>
        </p:txBody>
      </p:sp>
      <p:graphicFrame>
        <p:nvGraphicFramePr>
          <p:cNvPr id="9" name="Diagramm 8"/>
          <p:cNvGraphicFramePr/>
          <p:nvPr>
            <p:extLst>
              <p:ext uri="{D42A27DB-BD31-4B8C-83A1-F6EECF244321}">
                <p14:modId xmlns:p14="http://schemas.microsoft.com/office/powerpoint/2010/main" val="3985958266"/>
              </p:ext>
            </p:extLst>
          </p:nvPr>
        </p:nvGraphicFramePr>
        <p:xfrm>
          <a:off x="502919" y="1619249"/>
          <a:ext cx="10201593" cy="425767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sp>
        <p:nvSpPr>
          <p:cNvPr id="11" name="Textfeld 10">
            <a:extLst>
              <a:ext uri="{FF2B5EF4-FFF2-40B4-BE49-F238E27FC236}">
                <a16:creationId xmlns:a16="http://schemas.microsoft.com/office/drawing/2014/main" id="{C872468D-648C-44F5-8DF7-75B41720E3E9}"/>
              </a:ext>
            </a:extLst>
          </p:cNvPr>
          <p:cNvSpPr txBox="1"/>
          <p:nvPr/>
        </p:nvSpPr>
        <p:spPr>
          <a:xfrm>
            <a:off x="1487487" y="1019777"/>
            <a:ext cx="9004162" cy="218650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1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400" b="0" i="0" u="none" strike="noStrike" kern="1200" cap="none" spc="30" normalizeH="0" baseline="0" noProof="0" dirty="0">
                <a:ln>
                  <a:noFill/>
                </a:ln>
                <a:solidFill>
                  <a:srgbClr val="EB0000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Anteil der elektrifizierten Strecken am Total der Strecken eines Infrastrukturbetreibers</a:t>
            </a:r>
          </a:p>
        </p:txBody>
      </p:sp>
      <p:sp>
        <p:nvSpPr>
          <p:cNvPr id="12" name="Textfeld 11">
            <a:extLst>
              <a:ext uri="{FF2B5EF4-FFF2-40B4-BE49-F238E27FC236}">
                <a16:creationId xmlns:a16="http://schemas.microsoft.com/office/drawing/2014/main" id="{5951AA1F-1F78-4199-A377-9885C86C21AF}"/>
              </a:ext>
            </a:extLst>
          </p:cNvPr>
          <p:cNvSpPr txBox="1"/>
          <p:nvPr/>
        </p:nvSpPr>
        <p:spPr>
          <a:xfrm rot="16200000">
            <a:off x="9605908" y="3946970"/>
            <a:ext cx="3947678" cy="138499"/>
          </a:xfrm>
          <a:prstGeom prst="rect">
            <a:avLst/>
          </a:prstGeom>
          <a:noFill/>
        </p:spPr>
        <p:txBody>
          <a:bodyPr wrap="square" lIns="0" tIns="0" rIns="0" bIns="0" rtlCol="0" anchor="b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Quellen</a:t>
            </a: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: UIC, </a:t>
            </a:r>
            <a:r>
              <a:rPr kumimoji="0" lang="fr-FR" sz="900" b="0" i="0" u="none" strike="noStrike" kern="0" cap="none" spc="0" normalizeH="0" baseline="0" noProof="0" dirty="0" err="1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ProRail</a:t>
            </a:r>
            <a:r>
              <a:rPr kumimoji="0" lang="fr-FR" sz="9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. Network Rail: 2021, SNCF Réseau: 2022.</a:t>
            </a:r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529F12DD-D362-4327-A51F-7014752CAD0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8976745" y="5882280"/>
            <a:ext cx="1727767" cy="170649"/>
          </a:xfrm>
        </p:spPr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e-CH" sz="1100" b="0" i="0" u="none" strike="noStrike" kern="0" cap="none" spc="0" normalizeH="0" baseline="0" noProof="0" dirty="0">
                <a:ln>
                  <a:noFill/>
                </a:ln>
                <a:solidFill>
                  <a:srgbClr val="444444"/>
                </a:solidFill>
                <a:effectLst/>
                <a:uLnTx/>
                <a:uFillTx/>
                <a:latin typeface="SBB Light"/>
                <a:ea typeface="+mn-ea"/>
                <a:cs typeface="+mn-cs"/>
              </a:rPr>
              <a:t>reporting.sbb.ch</a:t>
            </a:r>
          </a:p>
        </p:txBody>
      </p:sp>
    </p:spTree>
    <p:extLst>
      <p:ext uri="{BB962C8B-B14F-4D97-AF65-F5344CB8AC3E}">
        <p14:creationId xmlns:p14="http://schemas.microsoft.com/office/powerpoint/2010/main" val="380803553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BOsmfMoRi26Np7Rn4kh2w"/>
</p:tagLst>
</file>

<file path=ppt/theme/theme1.xml><?xml version="1.0" encoding="utf-8"?>
<a:theme xmlns:a="http://schemas.openxmlformats.org/drawingml/2006/main" name="1_20170515_PPT-Vorlage_NEU_16-9">
  <a:themeElements>
    <a:clrScheme name="SBB">
      <a:dk1>
        <a:srgbClr val="000000"/>
      </a:dk1>
      <a:lt1>
        <a:srgbClr val="FFFFFF"/>
      </a:lt1>
      <a:dk2>
        <a:srgbClr val="B7B7B7"/>
      </a:dk2>
      <a:lt2>
        <a:srgbClr val="4C4C4C"/>
      </a:lt2>
      <a:accent1>
        <a:srgbClr val="ABADCB"/>
      </a:accent1>
      <a:accent2>
        <a:srgbClr val="6C6FA4"/>
      </a:accent2>
      <a:accent3>
        <a:srgbClr val="2D327D"/>
      </a:accent3>
      <a:accent4>
        <a:srgbClr val="FF9999"/>
      </a:accent4>
      <a:accent5>
        <a:srgbClr val="FF4C4C"/>
      </a:accent5>
      <a:accent6>
        <a:srgbClr val="FF0000"/>
      </a:accent6>
      <a:hlink>
        <a:srgbClr val="2D327D"/>
      </a:hlink>
      <a:folHlink>
        <a:srgbClr val="2D327D"/>
      </a:folHlink>
    </a:clrScheme>
    <a:fontScheme name="SBB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3"/>
        </a:solidFill>
        <a:ln>
          <a:noFill/>
        </a:ln>
      </a:spPr>
      <a:bodyPr wrap="square" lIns="36000" tIns="36000" rIns="36000" bIns="36000" rtlCol="0" anchor="t" anchorCtr="0">
        <a:normAutofit/>
      </a:bodyPr>
      <a:lstStyle>
        <a:defPPr algn="ctr">
          <a:defRPr sz="2400"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rgbClr val="B7B7B7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/>
      <a:bodyPr/>
      <a:lstStyle>
        <a:defPPr>
          <a:defRPr noProof="0" dirty="0" smtClean="0"/>
        </a:defPPr>
      </a:lstStyle>
    </a:txDef>
  </a:objectDefaults>
  <a:extraClrSchemeLst>
    <a:extraClrScheme>
      <a:clrScheme name="SBB">
        <a:dk1>
          <a:sysClr val="windowText" lastClr="000000"/>
        </a:dk1>
        <a:lt1>
          <a:sysClr val="window" lastClr="FFFFFF"/>
        </a:lt1>
        <a:dk2>
          <a:srgbClr val="B7B7B7"/>
        </a:dk2>
        <a:lt2>
          <a:srgbClr val="4C4C4C"/>
        </a:lt2>
        <a:accent1>
          <a:srgbClr val="ABADCB"/>
        </a:accent1>
        <a:accent2>
          <a:srgbClr val="6C6FA4"/>
        </a:accent2>
        <a:accent3>
          <a:srgbClr val="2D327D"/>
        </a:accent3>
        <a:accent4>
          <a:srgbClr val="FF9999"/>
        </a:accent4>
        <a:accent5>
          <a:srgbClr val="FF4C4C"/>
        </a:accent5>
        <a:accent6>
          <a:srgbClr val="EB0000"/>
        </a:accent6>
        <a:hlink>
          <a:srgbClr val="2D327D"/>
        </a:hlink>
        <a:folHlink>
          <a:srgbClr val="D5D6E5"/>
        </a:folHlink>
      </a:clrScheme>
    </a:extraClrScheme>
  </a:extraClrSchemeLst>
  <a:extLst>
    <a:ext uri="{05A4C25C-085E-4340-85A3-A5531E510DB2}">
      <thm15:themeFamily xmlns:thm15="http://schemas.microsoft.com/office/thememl/2012/main" name="20171027_PPT-Vorlage_NEU_16-9_DE.potx" id="{0F39B86A-6FEA-4482-98DD-A0AF78DA8361}" vid="{2F05930E-573E-4379-8421-B361C9D363BB}"/>
    </a:ext>
  </a:extLst>
</a:theme>
</file>

<file path=ppt/theme/theme2.xml><?xml version="1.0" encoding="utf-8"?>
<a:theme xmlns:a="http://schemas.openxmlformats.org/drawingml/2006/main" name="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Vorlage_16-9.potx" id="{AFB2A5A8-0A5A-4D2B-9D1C-2542F94FB30E}" vid="{15E43739-6510-4178-811B-133FA854CD7A}"/>
    </a:ext>
  </a:extLst>
</a:theme>
</file>

<file path=ppt/theme/theme3.xml><?xml version="1.0" encoding="utf-8"?>
<a:theme xmlns:a="http://schemas.openxmlformats.org/drawingml/2006/main" name="1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4.xml><?xml version="1.0" encoding="utf-8"?>
<a:theme xmlns:a="http://schemas.openxmlformats.org/drawingml/2006/main" name="2_Benutzerdefiniertes Design">
  <a:themeElements>
    <a:clrScheme name="SBB">
      <a:dk1>
        <a:sysClr val="windowText" lastClr="000000"/>
      </a:dk1>
      <a:lt1>
        <a:sysClr val="window" lastClr="FFFFFF"/>
      </a:lt1>
      <a:dk2>
        <a:srgbClr val="444444"/>
      </a:dk2>
      <a:lt2>
        <a:srgbClr val="E5E5E5"/>
      </a:lt2>
      <a:accent1>
        <a:srgbClr val="A20013"/>
      </a:accent1>
      <a:accent2>
        <a:srgbClr val="C60018"/>
      </a:accent2>
      <a:accent3>
        <a:srgbClr val="EB0000"/>
      </a:accent3>
      <a:accent4>
        <a:srgbClr val="E5E5E5"/>
      </a:accent4>
      <a:accent5>
        <a:srgbClr val="BDBDBD"/>
      </a:accent5>
      <a:accent6>
        <a:srgbClr val="8D8D8D"/>
      </a:accent6>
      <a:hlink>
        <a:srgbClr val="444444"/>
      </a:hlink>
      <a:folHlink>
        <a:srgbClr val="444444"/>
      </a:folHlink>
    </a:clrScheme>
    <a:fontScheme name="SBB">
      <a:majorFont>
        <a:latin typeface="SBB Light"/>
        <a:ea typeface=""/>
        <a:cs typeface=""/>
      </a:majorFont>
      <a:minorFont>
        <a:latin typeface="SBB Light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ln>
          <a:noFill/>
        </a:ln>
      </a:spPr>
      <a:bodyPr lIns="0" tIns="0" rIns="0" bIns="0" rtlCol="0" anchor="ctr"/>
      <a:lstStyle>
        <a:defPPr algn="ctr">
          <a:defRPr sz="1400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2700">
          <a:solidFill>
            <a:schemeClr val="accent5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spAutoFit/>
      </a:bodyPr>
      <a:lstStyle>
        <a:defPPr algn="l">
          <a:defRPr sz="1400" dirty="0" err="1" smtClean="0">
            <a:solidFill>
              <a:schemeClr val="tx2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BB_PPT_Folienbibliothek_16-9.potx" id="{5661FAAD-0434-4CE1-BCF0-B44E0993DACB}" vid="{03AF73CB-3D4D-47A6-916A-F20A5F10DFAB}"/>
    </a:ext>
  </a:extLst>
</a:theme>
</file>

<file path=ppt/theme/theme5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Ausgabe xmlns="2f5c8543-cf23-4718-a3b8-32b0a91d511a" xsi:nil="true"/>
    <SharedWithUsers xmlns="96e82a89-ba48-4728-b345-cf206dbec8f1">
      <UserInfo>
        <DisplayName>Schärli Reto (KOM-NEW)</DisplayName>
        <AccountId>437</AccountId>
        <AccountType/>
      </UserInfo>
      <UserInfo>
        <DisplayName>Vrecko Gabriela (KOM-I)</DisplayName>
        <AccountId>345</AccountId>
        <AccountType/>
      </UserInfo>
      <UserInfo>
        <DisplayName>Vincen Raj Bobisha (KOM-NEW - Extern)</DisplayName>
        <AccountId>4510</AccountId>
        <AccountType/>
      </UserInfo>
      <UserInfo>
        <DisplayName>Carecci Silvano (IM-BW-BDM)</DisplayName>
        <AccountId>5126</AccountId>
        <AccountType/>
      </UserInfo>
      <UserInfo>
        <DisplayName>Burkhard Sabina (KOM-NEW)</DisplayName>
        <AccountId>5505</AccountId>
        <AccountType/>
      </UserInfo>
      <UserInfo>
        <DisplayName>Susuri Urimé (F)</DisplayName>
        <AccountId>5872</AccountId>
        <AccountType/>
      </UserInfo>
      <UserInfo>
        <DisplayName>Vincen Raj Bobisha (HR-TKB-FU-HOP)</DisplayName>
        <AccountId>5704</AccountId>
        <AccountType/>
      </UserInfo>
      <UserInfo>
        <DisplayName>Dischoe Marc Olivier (KOM-NEW)</DisplayName>
        <AccountId>577</AccountId>
        <AccountType/>
      </UserInfo>
      <UserInfo>
        <DisplayName>Wipf Claudia (KOM-P-MP)</DisplayName>
        <AccountId>844</AccountId>
        <AccountType/>
      </UserInfo>
    </SharedWithUsers>
    <lcf76f155ced4ddcb4097134ff3c332f xmlns="2f5c8543-cf23-4718-a3b8-32b0a91d511a">
      <Terms xmlns="http://schemas.microsoft.com/office/infopath/2007/PartnerControls"/>
    </lcf76f155ced4ddcb4097134ff3c332f>
    <TaxCatchAll xmlns="96e82a89-ba48-4728-b345-cf206dbec8f1" xsi:nil="true"/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AF392CA6BBE5574789A5155D1822A344" ma:contentTypeVersion="19" ma:contentTypeDescription="Ein neues Dokument erstellen." ma:contentTypeScope="" ma:versionID="4dd304521cd42a335004f88bc78b46b0">
  <xsd:schema xmlns:xsd="http://www.w3.org/2001/XMLSchema" xmlns:xs="http://www.w3.org/2001/XMLSchema" xmlns:p="http://schemas.microsoft.com/office/2006/metadata/properties" xmlns:ns2="96e82a89-ba48-4728-b345-cf206dbec8f1" xmlns:ns3="2f5c8543-cf23-4718-a3b8-32b0a91d511a" targetNamespace="http://schemas.microsoft.com/office/2006/metadata/properties" ma:root="true" ma:fieldsID="0119a1b2b524b2b9f972c52e0796504f" ns2:_="" ns3:_="">
    <xsd:import namespace="96e82a89-ba48-4728-b345-cf206dbec8f1"/>
    <xsd:import namespace="2f5c8543-cf23-4718-a3b8-32b0a91d511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2:SharedWithDetails" minOccurs="0"/>
                <xsd:element ref="ns3:MediaServiceMetadata" minOccurs="0"/>
                <xsd:element ref="ns3:MediaServiceFastMetadata" minOccurs="0"/>
                <xsd:element ref="ns3:MediaServiceAutoTags" minOccurs="0"/>
                <xsd:element ref="ns3:MediaServiceOCR" minOccurs="0"/>
                <xsd:element ref="ns3:Ausgabe" minOccurs="0"/>
                <xsd:element ref="ns3:MediaServiceGenerationTime" minOccurs="0"/>
                <xsd:element ref="ns3:MediaServiceEventHashCode" minOccurs="0"/>
                <xsd:element ref="ns3:MediaServiceDateTaken" minOccurs="0"/>
                <xsd:element ref="ns3:MediaServiceLocation" minOccurs="0"/>
                <xsd:element ref="ns3:MediaServiceAutoKeyPoints" minOccurs="0"/>
                <xsd:element ref="ns3:MediaServiceKeyPoints" minOccurs="0"/>
                <xsd:element ref="ns3:MediaLengthInSeconds" minOccurs="0"/>
                <xsd:element ref="ns3:lcf76f155ced4ddcb4097134ff3c332f" minOccurs="0"/>
                <xsd:element ref="ns2:TaxCatchAll" minOccurs="0"/>
                <xsd:element ref="ns3:MediaServiceObjectDetectorVersions" minOccurs="0"/>
                <xsd:element ref="ns3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6e82a89-ba48-4728-b345-cf206dbec8f1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Freigegeben für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9" nillable="true" ma:displayName="Freigegeben für -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4" nillable="true" ma:displayName="Taxonomy Catch All Column" ma:hidden="true" ma:list="{37e3da64-c71a-4074-9be5-101312c09dec}" ma:internalName="TaxCatchAll" ma:showField="CatchAllData" ma:web="96e82a89-ba48-4728-b345-cf206dbec8f1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f5c8543-cf23-4718-a3b8-32b0a91d511a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0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1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Ausgabe" ma:index="14" nillable="true" ma:displayName="Ausgabe" ma:description="Ausgabe des Dokumentes" ma:format="RadioButtons" ma:internalName="Ausgabe">
      <xsd:simpleType>
        <xsd:union memberTypes="dms:Text">
          <xsd:simpleType>
            <xsd:restriction base="dms:Choice">
              <xsd:enumeration value="2016"/>
              <xsd:enumeration value="2017"/>
              <xsd:enumeration value="2018"/>
              <xsd:enumeration value="2019"/>
            </xsd:restriction>
          </xsd:simpleType>
        </xsd:un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7" nillable="true" ma:displayName="MediaServiceDateTaken" ma:hidden="true" ma:internalName="MediaServiceDateTaken" ma:readOnly="true">
      <xsd:simpleType>
        <xsd:restriction base="dms:Text"/>
      </xsd:simpleType>
    </xsd:element>
    <xsd:element name="MediaServiceLocation" ma:index="18" nillable="true" ma:displayName="Location" ma:internalName="MediaServiceLocation" ma:readOnly="true">
      <xsd:simpleType>
        <xsd:restriction base="dms:Text"/>
      </xsd:simpleType>
    </xsd:element>
    <xsd:element name="MediaServiceAutoKeyPoints" ma:index="19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20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LengthInSeconds" ma:index="21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3" nillable="true" ma:taxonomy="true" ma:internalName="lcf76f155ced4ddcb4097134ff3c332f" ma:taxonomyFieldName="MediaServiceImageTags" ma:displayName="Bildmarkierungen" ma:readOnly="false" ma:fieldId="{5cf76f15-5ced-4ddc-b409-7134ff3c332f}" ma:taxonomyMulti="true" ma:sspId="2e7e7b05-955d-4ec1-8c45-691041b8b004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ObjectDetectorVersions" ma:index="25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6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haltstyp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D915E158-F398-42BF-8A91-7C2A147B9234}">
  <ds:schemaRefs>
    <ds:schemaRef ds:uri="http://schemas.openxmlformats.org/package/2006/metadata/core-properties"/>
    <ds:schemaRef ds:uri="http://purl.org/dc/elements/1.1/"/>
    <ds:schemaRef ds:uri="http://schemas.microsoft.com/office/infopath/2007/PartnerControls"/>
    <ds:schemaRef ds:uri="http://schemas.microsoft.com/office/2006/metadata/properties"/>
    <ds:schemaRef ds:uri="http://purl.org/dc/terms/"/>
    <ds:schemaRef ds:uri="2f5c8543-cf23-4718-a3b8-32b0a91d511a"/>
    <ds:schemaRef ds:uri="96e82a89-ba48-4728-b345-cf206dbec8f1"/>
    <ds:schemaRef ds:uri="http://schemas.microsoft.com/office/2006/documentManagement/types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DAB7085B-D9CF-4930-865D-AE9ED154F05C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DBAF083-2BD0-416B-ABD4-D7299603DC41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96e82a89-ba48-4728-b345-cf206dbec8f1"/>
    <ds:schemaRef ds:uri="2f5c8543-cf23-4718-a3b8-32b0a91d511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5bc72e09-8d7d-491f-a3d1-5693fc6e93f6}" enabled="1" method="Privileged" siteId="{2cda5d11-f0ac-46b3-967d-af1b2e1bd01a}" contentBits="0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51</Words>
  <Application>Microsoft Office PowerPoint</Application>
  <PresentationFormat>Breitbild</PresentationFormat>
  <Paragraphs>6</Paragraphs>
  <Slides>1</Slides>
  <Notes>1</Notes>
  <HiddenSlides>0</HiddenSlides>
  <MMClips>0</MMClips>
  <ScaleCrop>false</ScaleCrop>
  <HeadingPairs>
    <vt:vector size="8" baseType="variant">
      <vt:variant>
        <vt:lpstr>Verwendete Schriftarten</vt:lpstr>
      </vt:variant>
      <vt:variant>
        <vt:i4>5</vt:i4>
      </vt:variant>
      <vt:variant>
        <vt:lpstr>Design</vt:lpstr>
      </vt:variant>
      <vt:variant>
        <vt:i4>4</vt:i4>
      </vt:variant>
      <vt:variant>
        <vt:lpstr>Eingebettete OLE-Server</vt:lpstr>
      </vt:variant>
      <vt:variant>
        <vt:i4>1</vt:i4>
      </vt:variant>
      <vt:variant>
        <vt:lpstr>Folientitel</vt:lpstr>
      </vt:variant>
      <vt:variant>
        <vt:i4>1</vt:i4>
      </vt:variant>
    </vt:vector>
  </HeadingPairs>
  <TitlesOfParts>
    <vt:vector size="11" baseType="lpstr">
      <vt:lpstr>Arial</vt:lpstr>
      <vt:lpstr>Calibri</vt:lpstr>
      <vt:lpstr>SBB Light</vt:lpstr>
      <vt:lpstr>Symbol</vt:lpstr>
      <vt:lpstr>Wingdings 3</vt:lpstr>
      <vt:lpstr>1_20170515_PPT-Vorlage_NEU_16-9</vt:lpstr>
      <vt:lpstr>Benutzerdefiniertes Design</vt:lpstr>
      <vt:lpstr>1_Benutzerdefiniertes Design</vt:lpstr>
      <vt:lpstr>2_Benutzerdefiniertes Design</vt:lpstr>
      <vt:lpstr>think-cell Folie</vt:lpstr>
      <vt:lpstr>Streckennetzelektrifizierung in Europa im 2023.</vt:lpstr>
    </vt:vector>
  </TitlesOfParts>
  <Company>SBB AG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Streckennetzelektrifizierung in Europa im 2023.</dc:title>
  <dc:creator>Meyer Raphael (KOM-PGA-VSF)</dc:creator>
  <cp:lastModifiedBy>Stefan Weigel (PAR-EPS)</cp:lastModifiedBy>
  <cp:revision>59</cp:revision>
  <dcterms:created xsi:type="dcterms:W3CDTF">2020-09-30T11:00:09Z</dcterms:created>
  <dcterms:modified xsi:type="dcterms:W3CDTF">2025-02-24T12:57:2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AF392CA6BBE5574789A5155D1822A344</vt:lpwstr>
  </property>
  <property fmtid="{D5CDD505-2E9C-101B-9397-08002B2CF9AE}" pid="3" name="_dlc_DocIdItemGuid">
    <vt:lpwstr>7f61737c-4fb7-4bc4-8821-d36f28de962c</vt:lpwstr>
  </property>
  <property fmtid="{D5CDD505-2E9C-101B-9397-08002B2CF9AE}" pid="4" name="TmpVertraulichkeit">
    <vt:lpwstr/>
  </property>
  <property fmtid="{D5CDD505-2E9C-101B-9397-08002B2CF9AE}" pid="5" name="TmpStatus">
    <vt:lpwstr/>
  </property>
  <property fmtid="{D5CDD505-2E9C-101B-9397-08002B2CF9AE}" pid="6" name="MSIP_Label_5bc72e09-8d7d-491f-a3d1-5693fc6e93f6_Enabled">
    <vt:lpwstr>true</vt:lpwstr>
  </property>
  <property fmtid="{D5CDD505-2E9C-101B-9397-08002B2CF9AE}" pid="7" name="MSIP_Label_5bc72e09-8d7d-491f-a3d1-5693fc6e93f6_SetDate">
    <vt:lpwstr>2021-10-19T13:12:15Z</vt:lpwstr>
  </property>
  <property fmtid="{D5CDD505-2E9C-101B-9397-08002B2CF9AE}" pid="8" name="MSIP_Label_5bc72e09-8d7d-491f-a3d1-5693fc6e93f6_Method">
    <vt:lpwstr>Privileged</vt:lpwstr>
  </property>
  <property fmtid="{D5CDD505-2E9C-101B-9397-08002B2CF9AE}" pid="9" name="MSIP_Label_5bc72e09-8d7d-491f-a3d1-5693fc6e93f6_Name">
    <vt:lpwstr>öffentlich</vt:lpwstr>
  </property>
  <property fmtid="{D5CDD505-2E9C-101B-9397-08002B2CF9AE}" pid="10" name="MSIP_Label_5bc72e09-8d7d-491f-a3d1-5693fc6e93f6_SiteId">
    <vt:lpwstr>2cda5d11-f0ac-46b3-967d-af1b2e1bd01a</vt:lpwstr>
  </property>
  <property fmtid="{D5CDD505-2E9C-101B-9397-08002B2CF9AE}" pid="11" name="MSIP_Label_5bc72e09-8d7d-491f-a3d1-5693fc6e93f6_ActionId">
    <vt:lpwstr>3b8d0866-56e4-4c4e-8fb7-7b1e972867f0</vt:lpwstr>
  </property>
  <property fmtid="{D5CDD505-2E9C-101B-9397-08002B2CF9AE}" pid="12" name="MSIP_Label_5bc72e09-8d7d-491f-a3d1-5693fc6e93f6_ContentBits">
    <vt:lpwstr>0</vt:lpwstr>
  </property>
  <property fmtid="{D5CDD505-2E9C-101B-9397-08002B2CF9AE}" pid="13" name="MediaServiceImageTags">
    <vt:lpwstr/>
  </property>
</Properties>
</file>